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5A58F3-21A0-4F15-A767-70F6982684A7}" type="datetimeFigureOut">
              <a:rPr lang="en-US" smtClean="0"/>
              <a:t>11/2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AAED3B-C991-4264-A075-0E46094D1B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172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9262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330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8062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831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69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609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9E933C-649B-CA47-BF2C-F267AC473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470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12" Type="http://schemas.openxmlformats.org/officeDocument/2006/relationships/image" Target="../media/image40.svg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38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svg"/><Relationship Id="rId12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0.png"/><Relationship Id="rId11" Type="http://schemas.openxmlformats.org/officeDocument/2006/relationships/image" Target="../media/image46.sv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4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8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hand holding a light bulb&#10;&#10;Description automatically generated with low confidence">
            <a:extLst>
              <a:ext uri="{FF2B5EF4-FFF2-40B4-BE49-F238E27FC236}">
                <a16:creationId xmlns:a16="http://schemas.microsoft.com/office/drawing/2014/main" id="{60D788FD-E280-4314-88CB-F1A211C726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2456" b="317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93700" y="2608210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700" y="3390416"/>
            <a:ext cx="5358342" cy="335989"/>
          </a:xfrm>
          <a:ln>
            <a:noFill/>
          </a:ln>
        </p:spPr>
        <p:txBody>
          <a:bodyPr wrap="square" lIns="0" tIns="0" rIns="0" bIns="0" anchor="t" anchorCtr="0">
            <a:normAutofit/>
          </a:bodyPr>
          <a:lstStyle>
            <a:lvl1pPr marL="0" indent="0" algn="l">
              <a:buNone/>
              <a:defRPr sz="2400" cap="none" baseline="0">
                <a:solidFill>
                  <a:schemeClr val="bg1"/>
                </a:solidFill>
                <a:latin typeface="+mn-lt"/>
                <a:ea typeface="Calibri" charset="0"/>
                <a:cs typeface="Calibri" charset="0"/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 / dat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393700" y="2551006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7995E52-0D03-438A-82DD-B5A349560C1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93700" y="400730"/>
            <a:ext cx="190500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6498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00E977E-83CE-4437-B0A0-B91DC817E2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D4D087-1F72-4A52-876B-582C41F2BA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5770" y="6403403"/>
            <a:ext cx="1060460" cy="29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721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00E977E-83CE-4437-B0A0-B91DC817E2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42E926-A1ED-454B-9719-62AA5D8EDAAD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9331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098A4-FE91-4C95-B854-22C5A3E4C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3616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683D0-9A60-4F6B-8B52-68C993FF7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2395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3650"/>
            <a:ext cx="93472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92800" y="6553200"/>
            <a:ext cx="508000" cy="304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4280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darkest-green-horz.png">
            <a:extLst>
              <a:ext uri="{FF2B5EF4-FFF2-40B4-BE49-F238E27FC236}">
                <a16:creationId xmlns:a16="http://schemas.microsoft.com/office/drawing/2014/main" id="{1C1F802B-C421-4392-978B-B0A275F62A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674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46916E23-0824-4C27-B5F9-DDF8BEAAC308}"/>
              </a:ext>
            </a:extLst>
          </p:cNvPr>
          <p:cNvSpPr/>
          <p:nvPr userDrawn="1"/>
        </p:nvSpPr>
        <p:spPr>
          <a:xfrm>
            <a:off x="6025081" y="3980259"/>
            <a:ext cx="1837293" cy="1837293"/>
          </a:xfrm>
          <a:prstGeom prst="donut">
            <a:avLst>
              <a:gd name="adj" fmla="val 95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Steps For Qualit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3E757B4B-D593-4BFA-9EE6-DAFAB2C61668}"/>
              </a:ext>
            </a:extLst>
          </p:cNvPr>
          <p:cNvSpPr/>
          <p:nvPr userDrawn="1"/>
        </p:nvSpPr>
        <p:spPr>
          <a:xfrm>
            <a:off x="4340188" y="3932634"/>
            <a:ext cx="1837293" cy="1837293"/>
          </a:xfrm>
          <a:prstGeom prst="donut">
            <a:avLst>
              <a:gd name="adj" fmla="val 951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24DC159D-2A97-4DAF-93CC-7BEAFFAC2F77}"/>
              </a:ext>
            </a:extLst>
          </p:cNvPr>
          <p:cNvSpPr/>
          <p:nvPr userDrawn="1"/>
        </p:nvSpPr>
        <p:spPr>
          <a:xfrm>
            <a:off x="5219052" y="2500828"/>
            <a:ext cx="1837293" cy="1837293"/>
          </a:xfrm>
          <a:prstGeom prst="donut">
            <a:avLst>
              <a:gd name="adj" fmla="val 951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D5C4AD98-6B95-46FA-8E4E-D18CBC95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2140" y="1097106"/>
            <a:ext cx="334772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8AFEAB41-66E9-4CA5-897B-8C0D0E53C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2140" y="1442530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B84E7C5-51BB-44B5-9A7E-288750A373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965" y="4379285"/>
            <a:ext cx="334772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BA7F9E5D-7E6D-4E77-81B3-A417C113B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01965" y="4724709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F3483FD7-FC39-404E-9722-95A7E76F26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363" y="4379285"/>
            <a:ext cx="334772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1AC8CFC8-7D39-4516-A1D4-FF523909E6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363" y="4724709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C89BAF-1B6A-4316-8F34-BF2C23A803D8}"/>
              </a:ext>
            </a:extLst>
          </p:cNvPr>
          <p:cNvCxnSpPr>
            <a:cxnSpLocks/>
          </p:cNvCxnSpPr>
          <p:nvPr userDrawn="1"/>
        </p:nvCxnSpPr>
        <p:spPr>
          <a:xfrm>
            <a:off x="4422140" y="1390952"/>
            <a:ext cx="334772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D352B07-532C-4525-BA65-82C3DF4DCA5B}"/>
              </a:ext>
            </a:extLst>
          </p:cNvPr>
          <p:cNvCxnSpPr>
            <a:cxnSpLocks/>
          </p:cNvCxnSpPr>
          <p:nvPr userDrawn="1"/>
        </p:nvCxnSpPr>
        <p:spPr>
          <a:xfrm>
            <a:off x="8101965" y="4673131"/>
            <a:ext cx="33477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BC761D4-A4BC-4D1B-BAB8-596ACB0D5AB1}"/>
              </a:ext>
            </a:extLst>
          </p:cNvPr>
          <p:cNvCxnSpPr>
            <a:cxnSpLocks/>
          </p:cNvCxnSpPr>
          <p:nvPr userDrawn="1"/>
        </p:nvCxnSpPr>
        <p:spPr>
          <a:xfrm>
            <a:off x="741363" y="4673131"/>
            <a:ext cx="33477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darkest-green-horz.png">
            <a:extLst>
              <a:ext uri="{FF2B5EF4-FFF2-40B4-BE49-F238E27FC236}">
                <a16:creationId xmlns:a16="http://schemas.microsoft.com/office/drawing/2014/main" id="{A3662630-FAE9-4F8A-BB1C-AF905C7943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42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Six Flower Infograph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B84E7C5-51BB-44B5-9A7E-288750A373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72785" y="1071475"/>
            <a:ext cx="38380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BA7F9E5D-7E6D-4E77-81B3-A417C113B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72785" y="1378799"/>
            <a:ext cx="383808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F3483FD7-FC39-404E-9722-95A7E76F26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74936" y="5276505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1AC8CFC8-7D39-4516-A1D4-FF523909E6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74936" y="5583829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3040B5D-AB1E-470D-B520-5EE26619A380}"/>
              </a:ext>
            </a:extLst>
          </p:cNvPr>
          <p:cNvGrpSpPr/>
          <p:nvPr userDrawn="1"/>
        </p:nvGrpSpPr>
        <p:grpSpPr>
          <a:xfrm>
            <a:off x="4272396" y="1676977"/>
            <a:ext cx="3647209" cy="3897327"/>
            <a:chOff x="4090035" y="1482110"/>
            <a:chExt cx="4011930" cy="4287060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143B1835-3310-4DE8-8F5C-E03523B69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035" y="2136107"/>
              <a:ext cx="1711668" cy="2363406"/>
            </a:xfrm>
            <a:custGeom>
              <a:avLst/>
              <a:gdLst>
                <a:gd name="T0" fmla="*/ 87 w 128"/>
                <a:gd name="T1" fmla="*/ 4 h 177"/>
                <a:gd name="T2" fmla="*/ 95 w 128"/>
                <a:gd name="T3" fmla="*/ 47 h 177"/>
                <a:gd name="T4" fmla="*/ 66 w 128"/>
                <a:gd name="T5" fmla="*/ 30 h 177"/>
                <a:gd name="T6" fmla="*/ 37 w 128"/>
                <a:gd name="T7" fmla="*/ 47 h 177"/>
                <a:gd name="T8" fmla="*/ 37 w 128"/>
                <a:gd name="T9" fmla="*/ 80 h 177"/>
                <a:gd name="T10" fmla="*/ 66 w 128"/>
                <a:gd name="T11" fmla="*/ 97 h 177"/>
                <a:gd name="T12" fmla="*/ 107 w 128"/>
                <a:gd name="T13" fmla="*/ 112 h 177"/>
                <a:gd name="T14" fmla="*/ 121 w 128"/>
                <a:gd name="T15" fmla="*/ 128 h 177"/>
                <a:gd name="T16" fmla="*/ 128 w 128"/>
                <a:gd name="T17" fmla="*/ 149 h 177"/>
                <a:gd name="T18" fmla="*/ 95 w 128"/>
                <a:gd name="T19" fmla="*/ 177 h 177"/>
                <a:gd name="T20" fmla="*/ 95 w 128"/>
                <a:gd name="T21" fmla="*/ 143 h 177"/>
                <a:gd name="T22" fmla="*/ 66 w 128"/>
                <a:gd name="T23" fmla="*/ 127 h 177"/>
                <a:gd name="T24" fmla="*/ 66 w 128"/>
                <a:gd name="T25" fmla="*/ 127 h 177"/>
                <a:gd name="T26" fmla="*/ 66 w 128"/>
                <a:gd name="T27" fmla="*/ 127 h 177"/>
                <a:gd name="T28" fmla="*/ 25 w 128"/>
                <a:gd name="T29" fmla="*/ 112 h 177"/>
                <a:gd name="T30" fmla="*/ 11 w 128"/>
                <a:gd name="T31" fmla="*/ 95 h 177"/>
                <a:gd name="T32" fmla="*/ 11 w 128"/>
                <a:gd name="T33" fmla="*/ 32 h 177"/>
                <a:gd name="T34" fmla="*/ 66 w 128"/>
                <a:gd name="T35" fmla="*/ 0 h 177"/>
                <a:gd name="T36" fmla="*/ 87 w 128"/>
                <a:gd name="T37" fmla="*/ 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77">
                  <a:moveTo>
                    <a:pt x="87" y="4"/>
                  </a:moveTo>
                  <a:cubicBezTo>
                    <a:pt x="85" y="18"/>
                    <a:pt x="87" y="33"/>
                    <a:pt x="95" y="47"/>
                  </a:cubicBezTo>
                  <a:cubicBezTo>
                    <a:pt x="89" y="36"/>
                    <a:pt x="78" y="30"/>
                    <a:pt x="66" y="30"/>
                  </a:cubicBezTo>
                  <a:cubicBezTo>
                    <a:pt x="54" y="30"/>
                    <a:pt x="43" y="36"/>
                    <a:pt x="37" y="47"/>
                  </a:cubicBezTo>
                  <a:cubicBezTo>
                    <a:pt x="31" y="57"/>
                    <a:pt x="31" y="70"/>
                    <a:pt x="37" y="80"/>
                  </a:cubicBezTo>
                  <a:cubicBezTo>
                    <a:pt x="43" y="90"/>
                    <a:pt x="54" y="97"/>
                    <a:pt x="66" y="97"/>
                  </a:cubicBezTo>
                  <a:cubicBezTo>
                    <a:pt x="81" y="97"/>
                    <a:pt x="96" y="102"/>
                    <a:pt x="107" y="112"/>
                  </a:cubicBezTo>
                  <a:cubicBezTo>
                    <a:pt x="113" y="116"/>
                    <a:pt x="117" y="122"/>
                    <a:pt x="121" y="128"/>
                  </a:cubicBezTo>
                  <a:cubicBezTo>
                    <a:pt x="125" y="135"/>
                    <a:pt x="127" y="142"/>
                    <a:pt x="128" y="149"/>
                  </a:cubicBezTo>
                  <a:cubicBezTo>
                    <a:pt x="115" y="154"/>
                    <a:pt x="103" y="164"/>
                    <a:pt x="95" y="177"/>
                  </a:cubicBezTo>
                  <a:cubicBezTo>
                    <a:pt x="101" y="166"/>
                    <a:pt x="101" y="154"/>
                    <a:pt x="95" y="143"/>
                  </a:cubicBezTo>
                  <a:cubicBezTo>
                    <a:pt x="89" y="133"/>
                    <a:pt x="78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51" y="127"/>
                    <a:pt x="36" y="121"/>
                    <a:pt x="25" y="112"/>
                  </a:cubicBezTo>
                  <a:cubicBezTo>
                    <a:pt x="19" y="107"/>
                    <a:pt x="15" y="101"/>
                    <a:pt x="11" y="95"/>
                  </a:cubicBezTo>
                  <a:cubicBezTo>
                    <a:pt x="0" y="75"/>
                    <a:pt x="0" y="51"/>
                    <a:pt x="11" y="32"/>
                  </a:cubicBezTo>
                  <a:cubicBezTo>
                    <a:pt x="22" y="12"/>
                    <a:pt x="43" y="0"/>
                    <a:pt x="66" y="0"/>
                  </a:cubicBezTo>
                  <a:cubicBezTo>
                    <a:pt x="73" y="0"/>
                    <a:pt x="81" y="1"/>
                    <a:pt x="87" y="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65D2249-255D-44FA-AF1C-605504958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036" y="3633535"/>
              <a:ext cx="2392725" cy="1495172"/>
            </a:xfrm>
            <a:custGeom>
              <a:avLst/>
              <a:gdLst>
                <a:gd name="T0" fmla="*/ 25 w 179"/>
                <a:gd name="T1" fmla="*/ 0 h 112"/>
                <a:gd name="T2" fmla="*/ 66 w 179"/>
                <a:gd name="T3" fmla="*/ 15 h 112"/>
                <a:gd name="T4" fmla="*/ 37 w 179"/>
                <a:gd name="T5" fmla="*/ 31 h 112"/>
                <a:gd name="T6" fmla="*/ 37 w 179"/>
                <a:gd name="T7" fmla="*/ 65 h 112"/>
                <a:gd name="T8" fmla="*/ 66 w 179"/>
                <a:gd name="T9" fmla="*/ 81 h 112"/>
                <a:gd name="T10" fmla="*/ 95 w 179"/>
                <a:gd name="T11" fmla="*/ 65 h 112"/>
                <a:gd name="T12" fmla="*/ 128 w 179"/>
                <a:gd name="T13" fmla="*/ 37 h 112"/>
                <a:gd name="T14" fmla="*/ 150 w 179"/>
                <a:gd name="T15" fmla="*/ 33 h 112"/>
                <a:gd name="T16" fmla="*/ 171 w 179"/>
                <a:gd name="T17" fmla="*/ 37 h 112"/>
                <a:gd name="T18" fmla="*/ 179 w 179"/>
                <a:gd name="T19" fmla="*/ 80 h 112"/>
                <a:gd name="T20" fmla="*/ 150 w 179"/>
                <a:gd name="T21" fmla="*/ 63 h 112"/>
                <a:gd name="T22" fmla="*/ 121 w 179"/>
                <a:gd name="T23" fmla="*/ 80 h 112"/>
                <a:gd name="T24" fmla="*/ 121 w 179"/>
                <a:gd name="T25" fmla="*/ 80 h 112"/>
                <a:gd name="T26" fmla="*/ 121 w 179"/>
                <a:gd name="T27" fmla="*/ 80 h 112"/>
                <a:gd name="T28" fmla="*/ 87 w 179"/>
                <a:gd name="T29" fmla="*/ 108 h 112"/>
                <a:gd name="T30" fmla="*/ 66 w 179"/>
                <a:gd name="T31" fmla="*/ 112 h 112"/>
                <a:gd name="T32" fmla="*/ 11 w 179"/>
                <a:gd name="T33" fmla="*/ 80 h 112"/>
                <a:gd name="T34" fmla="*/ 11 w 179"/>
                <a:gd name="T35" fmla="*/ 16 h 112"/>
                <a:gd name="T36" fmla="*/ 25 w 179"/>
                <a:gd name="T3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" h="112">
                  <a:moveTo>
                    <a:pt x="25" y="0"/>
                  </a:moveTo>
                  <a:cubicBezTo>
                    <a:pt x="36" y="9"/>
                    <a:pt x="51" y="15"/>
                    <a:pt x="66" y="15"/>
                  </a:cubicBezTo>
                  <a:cubicBezTo>
                    <a:pt x="54" y="15"/>
                    <a:pt x="43" y="21"/>
                    <a:pt x="37" y="31"/>
                  </a:cubicBezTo>
                  <a:cubicBezTo>
                    <a:pt x="31" y="42"/>
                    <a:pt x="31" y="54"/>
                    <a:pt x="37" y="65"/>
                  </a:cubicBezTo>
                  <a:cubicBezTo>
                    <a:pt x="43" y="75"/>
                    <a:pt x="54" y="81"/>
                    <a:pt x="66" y="81"/>
                  </a:cubicBezTo>
                  <a:cubicBezTo>
                    <a:pt x="78" y="81"/>
                    <a:pt x="89" y="75"/>
                    <a:pt x="95" y="65"/>
                  </a:cubicBezTo>
                  <a:cubicBezTo>
                    <a:pt x="103" y="52"/>
                    <a:pt x="115" y="42"/>
                    <a:pt x="128" y="37"/>
                  </a:cubicBezTo>
                  <a:cubicBezTo>
                    <a:pt x="135" y="34"/>
                    <a:pt x="142" y="33"/>
                    <a:pt x="150" y="33"/>
                  </a:cubicBezTo>
                  <a:cubicBezTo>
                    <a:pt x="157" y="33"/>
                    <a:pt x="164" y="34"/>
                    <a:pt x="171" y="37"/>
                  </a:cubicBezTo>
                  <a:cubicBezTo>
                    <a:pt x="169" y="51"/>
                    <a:pt x="171" y="67"/>
                    <a:pt x="179" y="80"/>
                  </a:cubicBezTo>
                  <a:cubicBezTo>
                    <a:pt x="173" y="70"/>
                    <a:pt x="162" y="63"/>
                    <a:pt x="150" y="63"/>
                  </a:cubicBezTo>
                  <a:cubicBezTo>
                    <a:pt x="138" y="63"/>
                    <a:pt x="127" y="69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13" y="93"/>
                    <a:pt x="101" y="103"/>
                    <a:pt x="87" y="108"/>
                  </a:cubicBezTo>
                  <a:cubicBezTo>
                    <a:pt x="81" y="110"/>
                    <a:pt x="73" y="112"/>
                    <a:pt x="66" y="112"/>
                  </a:cubicBezTo>
                  <a:cubicBezTo>
                    <a:pt x="43" y="112"/>
                    <a:pt x="22" y="99"/>
                    <a:pt x="11" y="80"/>
                  </a:cubicBezTo>
                  <a:cubicBezTo>
                    <a:pt x="0" y="60"/>
                    <a:pt x="0" y="36"/>
                    <a:pt x="11" y="16"/>
                  </a:cubicBezTo>
                  <a:cubicBezTo>
                    <a:pt x="15" y="10"/>
                    <a:pt x="19" y="4"/>
                    <a:pt x="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60627D7-19FC-483F-8D36-DF42F4917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3698" y="3633535"/>
              <a:ext cx="1964246" cy="2135635"/>
            </a:xfrm>
            <a:custGeom>
              <a:avLst/>
              <a:gdLst>
                <a:gd name="T0" fmla="*/ 0 w 147"/>
                <a:gd name="T1" fmla="*/ 108 h 160"/>
                <a:gd name="T2" fmla="*/ 34 w 147"/>
                <a:gd name="T3" fmla="*/ 80 h 160"/>
                <a:gd name="T4" fmla="*/ 34 w 147"/>
                <a:gd name="T5" fmla="*/ 113 h 160"/>
                <a:gd name="T6" fmla="*/ 63 w 147"/>
                <a:gd name="T7" fmla="*/ 130 h 160"/>
                <a:gd name="T8" fmla="*/ 92 w 147"/>
                <a:gd name="T9" fmla="*/ 113 h 160"/>
                <a:gd name="T10" fmla="*/ 92 w 147"/>
                <a:gd name="T11" fmla="*/ 80 h 160"/>
                <a:gd name="T12" fmla="*/ 84 w 147"/>
                <a:gd name="T13" fmla="*/ 37 h 160"/>
                <a:gd name="T14" fmla="*/ 92 w 147"/>
                <a:gd name="T15" fmla="*/ 16 h 160"/>
                <a:gd name="T16" fmla="*/ 106 w 147"/>
                <a:gd name="T17" fmla="*/ 0 h 160"/>
                <a:gd name="T18" fmla="*/ 147 w 147"/>
                <a:gd name="T19" fmla="*/ 15 h 160"/>
                <a:gd name="T20" fmla="*/ 118 w 147"/>
                <a:gd name="T21" fmla="*/ 31 h 160"/>
                <a:gd name="T22" fmla="*/ 118 w 147"/>
                <a:gd name="T23" fmla="*/ 65 h 160"/>
                <a:gd name="T24" fmla="*/ 118 w 147"/>
                <a:gd name="T25" fmla="*/ 65 h 160"/>
                <a:gd name="T26" fmla="*/ 118 w 147"/>
                <a:gd name="T27" fmla="*/ 65 h 160"/>
                <a:gd name="T28" fmla="*/ 125 w 147"/>
                <a:gd name="T29" fmla="*/ 108 h 160"/>
                <a:gd name="T30" fmla="*/ 118 w 147"/>
                <a:gd name="T31" fmla="*/ 128 h 160"/>
                <a:gd name="T32" fmla="*/ 63 w 147"/>
                <a:gd name="T33" fmla="*/ 160 h 160"/>
                <a:gd name="T34" fmla="*/ 8 w 147"/>
                <a:gd name="T35" fmla="*/ 128 h 160"/>
                <a:gd name="T36" fmla="*/ 0 w 147"/>
                <a:gd name="T37" fmla="*/ 10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" h="160">
                  <a:moveTo>
                    <a:pt x="0" y="108"/>
                  </a:moveTo>
                  <a:cubicBezTo>
                    <a:pt x="14" y="103"/>
                    <a:pt x="26" y="93"/>
                    <a:pt x="34" y="80"/>
                  </a:cubicBezTo>
                  <a:cubicBezTo>
                    <a:pt x="28" y="90"/>
                    <a:pt x="28" y="103"/>
                    <a:pt x="34" y="113"/>
                  </a:cubicBezTo>
                  <a:cubicBezTo>
                    <a:pt x="40" y="123"/>
                    <a:pt x="51" y="130"/>
                    <a:pt x="63" y="130"/>
                  </a:cubicBezTo>
                  <a:cubicBezTo>
                    <a:pt x="75" y="130"/>
                    <a:pt x="86" y="123"/>
                    <a:pt x="92" y="113"/>
                  </a:cubicBezTo>
                  <a:cubicBezTo>
                    <a:pt x="98" y="103"/>
                    <a:pt x="98" y="90"/>
                    <a:pt x="92" y="80"/>
                  </a:cubicBezTo>
                  <a:cubicBezTo>
                    <a:pt x="84" y="67"/>
                    <a:pt x="82" y="51"/>
                    <a:pt x="84" y="37"/>
                  </a:cubicBezTo>
                  <a:cubicBezTo>
                    <a:pt x="86" y="30"/>
                    <a:pt x="88" y="23"/>
                    <a:pt x="92" y="16"/>
                  </a:cubicBezTo>
                  <a:cubicBezTo>
                    <a:pt x="95" y="10"/>
                    <a:pt x="100" y="4"/>
                    <a:pt x="106" y="0"/>
                  </a:cubicBezTo>
                  <a:cubicBezTo>
                    <a:pt x="117" y="9"/>
                    <a:pt x="131" y="15"/>
                    <a:pt x="147" y="15"/>
                  </a:cubicBezTo>
                  <a:cubicBezTo>
                    <a:pt x="135" y="15"/>
                    <a:pt x="124" y="21"/>
                    <a:pt x="118" y="31"/>
                  </a:cubicBezTo>
                  <a:cubicBezTo>
                    <a:pt x="112" y="42"/>
                    <a:pt x="112" y="54"/>
                    <a:pt x="118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25" y="78"/>
                    <a:pt x="128" y="93"/>
                    <a:pt x="125" y="108"/>
                  </a:cubicBezTo>
                  <a:cubicBezTo>
                    <a:pt x="124" y="115"/>
                    <a:pt x="121" y="122"/>
                    <a:pt x="118" y="128"/>
                  </a:cubicBezTo>
                  <a:cubicBezTo>
                    <a:pt x="106" y="148"/>
                    <a:pt x="86" y="160"/>
                    <a:pt x="63" y="160"/>
                  </a:cubicBezTo>
                  <a:cubicBezTo>
                    <a:pt x="40" y="160"/>
                    <a:pt x="19" y="148"/>
                    <a:pt x="8" y="128"/>
                  </a:cubicBezTo>
                  <a:cubicBezTo>
                    <a:pt x="4" y="122"/>
                    <a:pt x="2" y="115"/>
                    <a:pt x="0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F9CEB0A3-CEB6-42EE-9ADC-63DBCB2A5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767" y="2765298"/>
              <a:ext cx="1725198" cy="2363406"/>
            </a:xfrm>
            <a:custGeom>
              <a:avLst/>
              <a:gdLst>
                <a:gd name="T0" fmla="*/ 41 w 129"/>
                <a:gd name="T1" fmla="*/ 173 h 177"/>
                <a:gd name="T2" fmla="*/ 34 w 129"/>
                <a:gd name="T3" fmla="*/ 130 h 177"/>
                <a:gd name="T4" fmla="*/ 63 w 129"/>
                <a:gd name="T5" fmla="*/ 146 h 177"/>
                <a:gd name="T6" fmla="*/ 92 w 129"/>
                <a:gd name="T7" fmla="*/ 130 h 177"/>
                <a:gd name="T8" fmla="*/ 92 w 129"/>
                <a:gd name="T9" fmla="*/ 96 h 177"/>
                <a:gd name="T10" fmla="*/ 63 w 129"/>
                <a:gd name="T11" fmla="*/ 80 h 177"/>
                <a:gd name="T12" fmla="*/ 22 w 129"/>
                <a:gd name="T13" fmla="*/ 65 h 177"/>
                <a:gd name="T14" fmla="*/ 8 w 129"/>
                <a:gd name="T15" fmla="*/ 48 h 177"/>
                <a:gd name="T16" fmla="*/ 0 w 129"/>
                <a:gd name="T17" fmla="*/ 28 h 177"/>
                <a:gd name="T18" fmla="*/ 34 w 129"/>
                <a:gd name="T19" fmla="*/ 0 h 177"/>
                <a:gd name="T20" fmla="*/ 34 w 129"/>
                <a:gd name="T21" fmla="*/ 33 h 177"/>
                <a:gd name="T22" fmla="*/ 63 w 129"/>
                <a:gd name="T23" fmla="*/ 50 h 177"/>
                <a:gd name="T24" fmla="*/ 63 w 129"/>
                <a:gd name="T25" fmla="*/ 50 h 177"/>
                <a:gd name="T26" fmla="*/ 63 w 129"/>
                <a:gd name="T27" fmla="*/ 50 h 177"/>
                <a:gd name="T28" fmla="*/ 104 w 129"/>
                <a:gd name="T29" fmla="*/ 65 h 177"/>
                <a:gd name="T30" fmla="*/ 118 w 129"/>
                <a:gd name="T31" fmla="*/ 81 h 177"/>
                <a:gd name="T32" fmla="*/ 118 w 129"/>
                <a:gd name="T33" fmla="*/ 145 h 177"/>
                <a:gd name="T34" fmla="*/ 63 w 129"/>
                <a:gd name="T35" fmla="*/ 177 h 177"/>
                <a:gd name="T36" fmla="*/ 41 w 129"/>
                <a:gd name="T37" fmla="*/ 17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" h="177">
                  <a:moveTo>
                    <a:pt x="41" y="173"/>
                  </a:moveTo>
                  <a:cubicBezTo>
                    <a:pt x="44" y="158"/>
                    <a:pt x="41" y="143"/>
                    <a:pt x="34" y="130"/>
                  </a:cubicBezTo>
                  <a:cubicBezTo>
                    <a:pt x="40" y="140"/>
                    <a:pt x="51" y="146"/>
                    <a:pt x="63" y="146"/>
                  </a:cubicBezTo>
                  <a:cubicBezTo>
                    <a:pt x="75" y="146"/>
                    <a:pt x="86" y="140"/>
                    <a:pt x="92" y="130"/>
                  </a:cubicBezTo>
                  <a:cubicBezTo>
                    <a:pt x="97" y="119"/>
                    <a:pt x="97" y="107"/>
                    <a:pt x="92" y="96"/>
                  </a:cubicBezTo>
                  <a:cubicBezTo>
                    <a:pt x="86" y="86"/>
                    <a:pt x="75" y="80"/>
                    <a:pt x="63" y="80"/>
                  </a:cubicBezTo>
                  <a:cubicBezTo>
                    <a:pt x="47" y="80"/>
                    <a:pt x="33" y="74"/>
                    <a:pt x="22" y="65"/>
                  </a:cubicBezTo>
                  <a:cubicBezTo>
                    <a:pt x="16" y="60"/>
                    <a:pt x="11" y="54"/>
                    <a:pt x="8" y="48"/>
                  </a:cubicBezTo>
                  <a:cubicBezTo>
                    <a:pt x="4" y="42"/>
                    <a:pt x="2" y="35"/>
                    <a:pt x="0" y="28"/>
                  </a:cubicBezTo>
                  <a:cubicBezTo>
                    <a:pt x="14" y="23"/>
                    <a:pt x="26" y="13"/>
                    <a:pt x="34" y="0"/>
                  </a:cubicBezTo>
                  <a:cubicBezTo>
                    <a:pt x="28" y="10"/>
                    <a:pt x="28" y="23"/>
                    <a:pt x="34" y="33"/>
                  </a:cubicBezTo>
                  <a:cubicBezTo>
                    <a:pt x="40" y="43"/>
                    <a:pt x="51" y="50"/>
                    <a:pt x="63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78" y="50"/>
                    <a:pt x="92" y="55"/>
                    <a:pt x="104" y="65"/>
                  </a:cubicBezTo>
                  <a:cubicBezTo>
                    <a:pt x="109" y="69"/>
                    <a:pt x="114" y="75"/>
                    <a:pt x="118" y="81"/>
                  </a:cubicBezTo>
                  <a:cubicBezTo>
                    <a:pt x="129" y="101"/>
                    <a:pt x="129" y="125"/>
                    <a:pt x="118" y="145"/>
                  </a:cubicBezTo>
                  <a:cubicBezTo>
                    <a:pt x="106" y="164"/>
                    <a:pt x="85" y="177"/>
                    <a:pt x="63" y="177"/>
                  </a:cubicBezTo>
                  <a:cubicBezTo>
                    <a:pt x="55" y="177"/>
                    <a:pt x="48" y="175"/>
                    <a:pt x="41" y="17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998F1021-E7C2-40D9-8D71-6992DD2F3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240" y="2136107"/>
              <a:ext cx="2392725" cy="1497426"/>
            </a:xfrm>
            <a:custGeom>
              <a:avLst/>
              <a:gdLst>
                <a:gd name="T0" fmla="*/ 154 w 179"/>
                <a:gd name="T1" fmla="*/ 112 h 112"/>
                <a:gd name="T2" fmla="*/ 113 w 179"/>
                <a:gd name="T3" fmla="*/ 97 h 112"/>
                <a:gd name="T4" fmla="*/ 142 w 179"/>
                <a:gd name="T5" fmla="*/ 80 h 112"/>
                <a:gd name="T6" fmla="*/ 142 w 179"/>
                <a:gd name="T7" fmla="*/ 47 h 112"/>
                <a:gd name="T8" fmla="*/ 113 w 179"/>
                <a:gd name="T9" fmla="*/ 30 h 112"/>
                <a:gd name="T10" fmla="*/ 84 w 179"/>
                <a:gd name="T11" fmla="*/ 47 h 112"/>
                <a:gd name="T12" fmla="*/ 50 w 179"/>
                <a:gd name="T13" fmla="*/ 75 h 112"/>
                <a:gd name="T14" fmla="*/ 29 w 179"/>
                <a:gd name="T15" fmla="*/ 78 h 112"/>
                <a:gd name="T16" fmla="*/ 7 w 179"/>
                <a:gd name="T17" fmla="*/ 75 h 112"/>
                <a:gd name="T18" fmla="*/ 0 w 179"/>
                <a:gd name="T19" fmla="*/ 32 h 112"/>
                <a:gd name="T20" fmla="*/ 29 w 179"/>
                <a:gd name="T21" fmla="*/ 48 h 112"/>
                <a:gd name="T22" fmla="*/ 58 w 179"/>
                <a:gd name="T23" fmla="*/ 32 h 112"/>
                <a:gd name="T24" fmla="*/ 58 w 179"/>
                <a:gd name="T25" fmla="*/ 32 h 112"/>
                <a:gd name="T26" fmla="*/ 58 w 179"/>
                <a:gd name="T27" fmla="*/ 31 h 112"/>
                <a:gd name="T28" fmla="*/ 91 w 179"/>
                <a:gd name="T29" fmla="*/ 4 h 112"/>
                <a:gd name="T30" fmla="*/ 113 w 179"/>
                <a:gd name="T31" fmla="*/ 0 h 112"/>
                <a:gd name="T32" fmla="*/ 168 w 179"/>
                <a:gd name="T33" fmla="*/ 32 h 112"/>
                <a:gd name="T34" fmla="*/ 168 w 179"/>
                <a:gd name="T35" fmla="*/ 95 h 112"/>
                <a:gd name="T36" fmla="*/ 154 w 179"/>
                <a:gd name="T3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" h="112">
                  <a:moveTo>
                    <a:pt x="154" y="112"/>
                  </a:moveTo>
                  <a:cubicBezTo>
                    <a:pt x="142" y="102"/>
                    <a:pt x="128" y="97"/>
                    <a:pt x="113" y="97"/>
                  </a:cubicBezTo>
                  <a:cubicBezTo>
                    <a:pt x="125" y="97"/>
                    <a:pt x="136" y="90"/>
                    <a:pt x="142" y="80"/>
                  </a:cubicBezTo>
                  <a:cubicBezTo>
                    <a:pt x="147" y="70"/>
                    <a:pt x="147" y="57"/>
                    <a:pt x="142" y="47"/>
                  </a:cubicBezTo>
                  <a:cubicBezTo>
                    <a:pt x="136" y="36"/>
                    <a:pt x="125" y="30"/>
                    <a:pt x="113" y="30"/>
                  </a:cubicBezTo>
                  <a:cubicBezTo>
                    <a:pt x="101" y="30"/>
                    <a:pt x="90" y="36"/>
                    <a:pt x="84" y="47"/>
                  </a:cubicBezTo>
                  <a:cubicBezTo>
                    <a:pt x="76" y="60"/>
                    <a:pt x="64" y="70"/>
                    <a:pt x="50" y="75"/>
                  </a:cubicBezTo>
                  <a:cubicBezTo>
                    <a:pt x="43" y="77"/>
                    <a:pt x="36" y="78"/>
                    <a:pt x="29" y="78"/>
                  </a:cubicBezTo>
                  <a:cubicBezTo>
                    <a:pt x="21" y="78"/>
                    <a:pt x="14" y="77"/>
                    <a:pt x="7" y="75"/>
                  </a:cubicBezTo>
                  <a:cubicBezTo>
                    <a:pt x="10" y="60"/>
                    <a:pt x="8" y="45"/>
                    <a:pt x="0" y="32"/>
                  </a:cubicBezTo>
                  <a:cubicBezTo>
                    <a:pt x="6" y="42"/>
                    <a:pt x="17" y="48"/>
                    <a:pt x="29" y="48"/>
                  </a:cubicBezTo>
                  <a:cubicBezTo>
                    <a:pt x="41" y="48"/>
                    <a:pt x="52" y="4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1"/>
                    <a:pt x="58" y="31"/>
                  </a:cubicBezTo>
                  <a:cubicBezTo>
                    <a:pt x="65" y="18"/>
                    <a:pt x="77" y="9"/>
                    <a:pt x="91" y="4"/>
                  </a:cubicBezTo>
                  <a:cubicBezTo>
                    <a:pt x="98" y="1"/>
                    <a:pt x="105" y="0"/>
                    <a:pt x="113" y="0"/>
                  </a:cubicBezTo>
                  <a:cubicBezTo>
                    <a:pt x="135" y="0"/>
                    <a:pt x="156" y="12"/>
                    <a:pt x="168" y="32"/>
                  </a:cubicBezTo>
                  <a:cubicBezTo>
                    <a:pt x="179" y="51"/>
                    <a:pt x="179" y="75"/>
                    <a:pt x="168" y="95"/>
                  </a:cubicBezTo>
                  <a:cubicBezTo>
                    <a:pt x="164" y="101"/>
                    <a:pt x="159" y="107"/>
                    <a:pt x="154" y="11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4421C036-3385-4FCA-A2C5-00C6AF9AE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4059" y="1482110"/>
              <a:ext cx="1950714" cy="2151423"/>
            </a:xfrm>
            <a:custGeom>
              <a:avLst/>
              <a:gdLst>
                <a:gd name="T0" fmla="*/ 146 w 146"/>
                <a:gd name="T1" fmla="*/ 53 h 161"/>
                <a:gd name="T2" fmla="*/ 113 w 146"/>
                <a:gd name="T3" fmla="*/ 81 h 161"/>
                <a:gd name="T4" fmla="*/ 113 w 146"/>
                <a:gd name="T5" fmla="*/ 47 h 161"/>
                <a:gd name="T6" fmla="*/ 84 w 146"/>
                <a:gd name="T7" fmla="*/ 31 h 161"/>
                <a:gd name="T8" fmla="*/ 55 w 146"/>
                <a:gd name="T9" fmla="*/ 47 h 161"/>
                <a:gd name="T10" fmla="*/ 55 w 146"/>
                <a:gd name="T11" fmla="*/ 81 h 161"/>
                <a:gd name="T12" fmla="*/ 62 w 146"/>
                <a:gd name="T13" fmla="*/ 124 h 161"/>
                <a:gd name="T14" fmla="*/ 55 w 146"/>
                <a:gd name="T15" fmla="*/ 144 h 161"/>
                <a:gd name="T16" fmla="*/ 41 w 146"/>
                <a:gd name="T17" fmla="*/ 161 h 161"/>
                <a:gd name="T18" fmla="*/ 0 w 146"/>
                <a:gd name="T19" fmla="*/ 146 h 161"/>
                <a:gd name="T20" fmla="*/ 29 w 146"/>
                <a:gd name="T21" fmla="*/ 129 h 161"/>
                <a:gd name="T22" fmla="*/ 29 w 146"/>
                <a:gd name="T23" fmla="*/ 96 h 161"/>
                <a:gd name="T24" fmla="*/ 29 w 146"/>
                <a:gd name="T25" fmla="*/ 96 h 161"/>
                <a:gd name="T26" fmla="*/ 29 w 146"/>
                <a:gd name="T27" fmla="*/ 95 h 161"/>
                <a:gd name="T28" fmla="*/ 21 w 146"/>
                <a:gd name="T29" fmla="*/ 53 h 161"/>
                <a:gd name="T30" fmla="*/ 29 w 146"/>
                <a:gd name="T31" fmla="*/ 32 h 161"/>
                <a:gd name="T32" fmla="*/ 84 w 146"/>
                <a:gd name="T33" fmla="*/ 0 h 161"/>
                <a:gd name="T34" fmla="*/ 139 w 146"/>
                <a:gd name="T35" fmla="*/ 32 h 161"/>
                <a:gd name="T36" fmla="*/ 146 w 146"/>
                <a:gd name="T37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6" h="161">
                  <a:moveTo>
                    <a:pt x="146" y="53"/>
                  </a:moveTo>
                  <a:cubicBezTo>
                    <a:pt x="132" y="58"/>
                    <a:pt x="120" y="67"/>
                    <a:pt x="113" y="81"/>
                  </a:cubicBezTo>
                  <a:cubicBezTo>
                    <a:pt x="119" y="70"/>
                    <a:pt x="119" y="58"/>
                    <a:pt x="113" y="47"/>
                  </a:cubicBezTo>
                  <a:cubicBezTo>
                    <a:pt x="107" y="37"/>
                    <a:pt x="96" y="31"/>
                    <a:pt x="84" y="31"/>
                  </a:cubicBezTo>
                  <a:cubicBezTo>
                    <a:pt x="72" y="31"/>
                    <a:pt x="61" y="37"/>
                    <a:pt x="55" y="47"/>
                  </a:cubicBezTo>
                  <a:cubicBezTo>
                    <a:pt x="49" y="58"/>
                    <a:pt x="49" y="70"/>
                    <a:pt x="55" y="81"/>
                  </a:cubicBezTo>
                  <a:cubicBezTo>
                    <a:pt x="63" y="94"/>
                    <a:pt x="65" y="109"/>
                    <a:pt x="62" y="124"/>
                  </a:cubicBezTo>
                  <a:cubicBezTo>
                    <a:pt x="61" y="131"/>
                    <a:pt x="59" y="138"/>
                    <a:pt x="55" y="144"/>
                  </a:cubicBezTo>
                  <a:cubicBezTo>
                    <a:pt x="51" y="150"/>
                    <a:pt x="47" y="156"/>
                    <a:pt x="41" y="161"/>
                  </a:cubicBezTo>
                  <a:cubicBezTo>
                    <a:pt x="30" y="151"/>
                    <a:pt x="15" y="146"/>
                    <a:pt x="0" y="146"/>
                  </a:cubicBezTo>
                  <a:cubicBezTo>
                    <a:pt x="12" y="146"/>
                    <a:pt x="23" y="139"/>
                    <a:pt x="29" y="129"/>
                  </a:cubicBezTo>
                  <a:cubicBezTo>
                    <a:pt x="35" y="119"/>
                    <a:pt x="35" y="106"/>
                    <a:pt x="2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29" y="96"/>
                    <a:pt x="29" y="95"/>
                  </a:cubicBezTo>
                  <a:cubicBezTo>
                    <a:pt x="21" y="82"/>
                    <a:pt x="19" y="67"/>
                    <a:pt x="21" y="53"/>
                  </a:cubicBezTo>
                  <a:cubicBezTo>
                    <a:pt x="23" y="45"/>
                    <a:pt x="25" y="39"/>
                    <a:pt x="29" y="32"/>
                  </a:cubicBezTo>
                  <a:cubicBezTo>
                    <a:pt x="40" y="13"/>
                    <a:pt x="61" y="0"/>
                    <a:pt x="84" y="0"/>
                  </a:cubicBezTo>
                  <a:cubicBezTo>
                    <a:pt x="107" y="0"/>
                    <a:pt x="127" y="13"/>
                    <a:pt x="139" y="32"/>
                  </a:cubicBezTo>
                  <a:cubicBezTo>
                    <a:pt x="143" y="39"/>
                    <a:pt x="145" y="45"/>
                    <a:pt x="146" y="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54899" tIns="27449" rIns="54899" bIns="274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8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52B5C57F-AB56-4989-9F9D-A72F37426E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34835" y="2484870"/>
            <a:ext cx="36634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234C3C1C-690A-453E-8BDB-13E5812F1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4835" y="2792194"/>
            <a:ext cx="366346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EC26B891-8522-486E-B7C1-B037A22948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9110" y="4300917"/>
            <a:ext cx="36634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8" name="Text Placeholder 17">
            <a:extLst>
              <a:ext uri="{FF2B5EF4-FFF2-40B4-BE49-F238E27FC236}">
                <a16:creationId xmlns:a16="http://schemas.microsoft.com/office/drawing/2014/main" id="{D23A43ED-28AA-46F7-AA11-A3496E1D3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49110" y="4608241"/>
            <a:ext cx="366346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FCF9C82F-6504-4718-B8B0-AD93EC86C8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2877" y="3680135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547D76F8-AE9D-470F-B864-FB9C47D764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2877" y="3987459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CDAF0663-F156-4E54-B51E-9FE9253C49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5171" y="1717806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05193EBD-15A1-4779-8DE4-990CED2E99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5171" y="2025130"/>
            <a:ext cx="334772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32" name="Picture 31" descr="darkest-green-horz.png">
            <a:extLst>
              <a:ext uri="{FF2B5EF4-FFF2-40B4-BE49-F238E27FC236}">
                <a16:creationId xmlns:a16="http://schemas.microsoft.com/office/drawing/2014/main" id="{6887A430-91E0-4AF0-8277-075718B6EEA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852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Time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B84E7C5-51BB-44B5-9A7E-288750A373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96" y="4048929"/>
            <a:ext cx="19416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BA7F9E5D-7E6D-4E77-81B3-A417C113B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6396" y="4356253"/>
            <a:ext cx="194164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32" name="object 5">
            <a:extLst>
              <a:ext uri="{FF2B5EF4-FFF2-40B4-BE49-F238E27FC236}">
                <a16:creationId xmlns:a16="http://schemas.microsoft.com/office/drawing/2014/main" id="{F9A35660-3806-4DC8-8EE8-25043C67C60E}"/>
              </a:ext>
            </a:extLst>
          </p:cNvPr>
          <p:cNvSpPr/>
          <p:nvPr/>
        </p:nvSpPr>
        <p:spPr>
          <a:xfrm>
            <a:off x="724827" y="2009384"/>
            <a:ext cx="2163206" cy="244742"/>
          </a:xfrm>
          <a:custGeom>
            <a:avLst/>
            <a:gdLst/>
            <a:ahLst/>
            <a:cxnLst/>
            <a:rect l="l" t="t" r="r" b="b"/>
            <a:pathLst>
              <a:path w="2087880" h="236219">
                <a:moveTo>
                  <a:pt x="1993519" y="0"/>
                </a:moveTo>
                <a:lnTo>
                  <a:pt x="0" y="0"/>
                </a:lnTo>
                <a:lnTo>
                  <a:pt x="94310" y="118110"/>
                </a:lnTo>
                <a:lnTo>
                  <a:pt x="0" y="236220"/>
                </a:lnTo>
                <a:lnTo>
                  <a:pt x="1993519" y="236220"/>
                </a:lnTo>
                <a:lnTo>
                  <a:pt x="2087879" y="118110"/>
                </a:lnTo>
                <a:lnTo>
                  <a:pt x="1993519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object 6">
            <a:extLst>
              <a:ext uri="{FF2B5EF4-FFF2-40B4-BE49-F238E27FC236}">
                <a16:creationId xmlns:a16="http://schemas.microsoft.com/office/drawing/2014/main" id="{20F5DCCB-9731-4E03-9738-9C188C5653D6}"/>
              </a:ext>
            </a:extLst>
          </p:cNvPr>
          <p:cNvSpPr/>
          <p:nvPr/>
        </p:nvSpPr>
        <p:spPr>
          <a:xfrm>
            <a:off x="2869612" y="2009384"/>
            <a:ext cx="2163206" cy="244742"/>
          </a:xfrm>
          <a:custGeom>
            <a:avLst/>
            <a:gdLst/>
            <a:ahLst/>
            <a:cxnLst/>
            <a:rect l="l" t="t" r="r" b="b"/>
            <a:pathLst>
              <a:path w="2087879" h="236219">
                <a:moveTo>
                  <a:pt x="1993518" y="0"/>
                </a:moveTo>
                <a:lnTo>
                  <a:pt x="0" y="0"/>
                </a:lnTo>
                <a:lnTo>
                  <a:pt x="94360" y="118110"/>
                </a:lnTo>
                <a:lnTo>
                  <a:pt x="0" y="236220"/>
                </a:lnTo>
                <a:lnTo>
                  <a:pt x="1993518" y="236220"/>
                </a:lnTo>
                <a:lnTo>
                  <a:pt x="2087879" y="118110"/>
                </a:lnTo>
                <a:lnTo>
                  <a:pt x="1993518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object 7">
            <a:extLst>
              <a:ext uri="{FF2B5EF4-FFF2-40B4-BE49-F238E27FC236}">
                <a16:creationId xmlns:a16="http://schemas.microsoft.com/office/drawing/2014/main" id="{751CC1E8-FE3D-4F41-AE2B-9703DA2AB3DF}"/>
              </a:ext>
            </a:extLst>
          </p:cNvPr>
          <p:cNvSpPr/>
          <p:nvPr/>
        </p:nvSpPr>
        <p:spPr>
          <a:xfrm>
            <a:off x="5014397" y="2009384"/>
            <a:ext cx="2163206" cy="244742"/>
          </a:xfrm>
          <a:custGeom>
            <a:avLst/>
            <a:gdLst/>
            <a:ahLst/>
            <a:cxnLst/>
            <a:rect l="l" t="t" r="r" b="b"/>
            <a:pathLst>
              <a:path w="2087879" h="236219">
                <a:moveTo>
                  <a:pt x="1993518" y="0"/>
                </a:moveTo>
                <a:lnTo>
                  <a:pt x="0" y="0"/>
                </a:lnTo>
                <a:lnTo>
                  <a:pt x="94361" y="118110"/>
                </a:lnTo>
                <a:lnTo>
                  <a:pt x="0" y="236220"/>
                </a:lnTo>
                <a:lnTo>
                  <a:pt x="1993518" y="236220"/>
                </a:lnTo>
                <a:lnTo>
                  <a:pt x="2087880" y="118110"/>
                </a:lnTo>
                <a:lnTo>
                  <a:pt x="1993518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object 8">
            <a:extLst>
              <a:ext uri="{FF2B5EF4-FFF2-40B4-BE49-F238E27FC236}">
                <a16:creationId xmlns:a16="http://schemas.microsoft.com/office/drawing/2014/main" id="{B6166ED9-72F0-45B6-9BA2-DD5B7B94B342}"/>
              </a:ext>
            </a:extLst>
          </p:cNvPr>
          <p:cNvSpPr/>
          <p:nvPr/>
        </p:nvSpPr>
        <p:spPr>
          <a:xfrm>
            <a:off x="7159182" y="2009384"/>
            <a:ext cx="2163206" cy="244742"/>
          </a:xfrm>
          <a:custGeom>
            <a:avLst/>
            <a:gdLst/>
            <a:ahLst/>
            <a:cxnLst/>
            <a:rect l="l" t="t" r="r" b="b"/>
            <a:pathLst>
              <a:path w="2087879" h="236219">
                <a:moveTo>
                  <a:pt x="1993519" y="0"/>
                </a:moveTo>
                <a:lnTo>
                  <a:pt x="0" y="0"/>
                </a:lnTo>
                <a:lnTo>
                  <a:pt x="94361" y="118110"/>
                </a:lnTo>
                <a:lnTo>
                  <a:pt x="0" y="236220"/>
                </a:lnTo>
                <a:lnTo>
                  <a:pt x="1993519" y="236220"/>
                </a:lnTo>
                <a:lnTo>
                  <a:pt x="2087880" y="118110"/>
                </a:lnTo>
                <a:lnTo>
                  <a:pt x="1993519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7" name="object 9">
            <a:extLst>
              <a:ext uri="{FF2B5EF4-FFF2-40B4-BE49-F238E27FC236}">
                <a16:creationId xmlns:a16="http://schemas.microsoft.com/office/drawing/2014/main" id="{1B14EE3C-3BA1-43A9-9C71-9A8BFDFECE92}"/>
              </a:ext>
            </a:extLst>
          </p:cNvPr>
          <p:cNvSpPr/>
          <p:nvPr/>
        </p:nvSpPr>
        <p:spPr>
          <a:xfrm>
            <a:off x="9303967" y="2009384"/>
            <a:ext cx="2163206" cy="244742"/>
          </a:xfrm>
          <a:custGeom>
            <a:avLst/>
            <a:gdLst/>
            <a:ahLst/>
            <a:cxnLst/>
            <a:rect l="l" t="t" r="r" b="b"/>
            <a:pathLst>
              <a:path w="2087879" h="236219">
                <a:moveTo>
                  <a:pt x="1993519" y="0"/>
                </a:moveTo>
                <a:lnTo>
                  <a:pt x="0" y="0"/>
                </a:lnTo>
                <a:lnTo>
                  <a:pt x="94361" y="118110"/>
                </a:lnTo>
                <a:lnTo>
                  <a:pt x="0" y="236220"/>
                </a:lnTo>
                <a:lnTo>
                  <a:pt x="1993519" y="236220"/>
                </a:lnTo>
                <a:lnTo>
                  <a:pt x="2087880" y="118110"/>
                </a:lnTo>
                <a:lnTo>
                  <a:pt x="1993519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9" name="object 11">
            <a:extLst>
              <a:ext uri="{FF2B5EF4-FFF2-40B4-BE49-F238E27FC236}">
                <a16:creationId xmlns:a16="http://schemas.microsoft.com/office/drawing/2014/main" id="{BFD5859A-6ABE-48D6-8605-1526449790CD}"/>
              </a:ext>
            </a:extLst>
          </p:cNvPr>
          <p:cNvSpPr/>
          <p:nvPr userDrawn="1"/>
        </p:nvSpPr>
        <p:spPr>
          <a:xfrm>
            <a:off x="1319577" y="2356760"/>
            <a:ext cx="971074" cy="1515823"/>
          </a:xfrm>
          <a:custGeom>
            <a:avLst/>
            <a:gdLst/>
            <a:ahLst/>
            <a:cxnLst/>
            <a:rect l="l" t="t" r="r" b="b"/>
            <a:pathLst>
              <a:path w="937260" h="1463039">
                <a:moveTo>
                  <a:pt x="937260" y="995680"/>
                </a:moveTo>
                <a:lnTo>
                  <a:pt x="934834" y="947915"/>
                </a:lnTo>
                <a:lnTo>
                  <a:pt x="927735" y="901509"/>
                </a:lnTo>
                <a:lnTo>
                  <a:pt x="916190" y="856729"/>
                </a:lnTo>
                <a:lnTo>
                  <a:pt x="900430" y="813790"/>
                </a:lnTo>
                <a:lnTo>
                  <a:pt x="880694" y="772934"/>
                </a:lnTo>
                <a:lnTo>
                  <a:pt x="857224" y="734402"/>
                </a:lnTo>
                <a:lnTo>
                  <a:pt x="830249" y="698423"/>
                </a:lnTo>
                <a:lnTo>
                  <a:pt x="799998" y="665226"/>
                </a:lnTo>
                <a:lnTo>
                  <a:pt x="766724" y="635063"/>
                </a:lnTo>
                <a:lnTo>
                  <a:pt x="730643" y="608152"/>
                </a:lnTo>
                <a:lnTo>
                  <a:pt x="692010" y="584746"/>
                </a:lnTo>
                <a:lnTo>
                  <a:pt x="651040" y="565061"/>
                </a:lnTo>
                <a:lnTo>
                  <a:pt x="607987" y="549338"/>
                </a:lnTo>
                <a:lnTo>
                  <a:pt x="563067" y="537819"/>
                </a:lnTo>
                <a:lnTo>
                  <a:pt x="516534" y="530745"/>
                </a:lnTo>
                <a:lnTo>
                  <a:pt x="482600" y="529031"/>
                </a:lnTo>
                <a:lnTo>
                  <a:pt x="496011" y="114300"/>
                </a:lnTo>
                <a:lnTo>
                  <a:pt x="496112" y="111061"/>
                </a:lnTo>
                <a:lnTo>
                  <a:pt x="499287" y="110528"/>
                </a:lnTo>
                <a:lnTo>
                  <a:pt x="517817" y="98856"/>
                </a:lnTo>
                <a:lnTo>
                  <a:pt x="530618" y="81064"/>
                </a:lnTo>
                <a:lnTo>
                  <a:pt x="535813" y="58928"/>
                </a:lnTo>
                <a:lnTo>
                  <a:pt x="535406" y="56515"/>
                </a:lnTo>
                <a:lnTo>
                  <a:pt x="532053" y="36576"/>
                </a:lnTo>
                <a:lnTo>
                  <a:pt x="520420" y="18034"/>
                </a:lnTo>
                <a:lnTo>
                  <a:pt x="502678" y="5219"/>
                </a:lnTo>
                <a:lnTo>
                  <a:pt x="480568" y="0"/>
                </a:lnTo>
                <a:lnTo>
                  <a:pt x="458216" y="3784"/>
                </a:lnTo>
                <a:lnTo>
                  <a:pt x="439674" y="15430"/>
                </a:lnTo>
                <a:lnTo>
                  <a:pt x="426834" y="33185"/>
                </a:lnTo>
                <a:lnTo>
                  <a:pt x="421640" y="55245"/>
                </a:lnTo>
                <a:lnTo>
                  <a:pt x="425411" y="77673"/>
                </a:lnTo>
                <a:lnTo>
                  <a:pt x="437070" y="96253"/>
                </a:lnTo>
                <a:lnTo>
                  <a:pt x="454812" y="109093"/>
                </a:lnTo>
                <a:lnTo>
                  <a:pt x="458012" y="109855"/>
                </a:lnTo>
                <a:lnTo>
                  <a:pt x="444500" y="528066"/>
                </a:lnTo>
                <a:lnTo>
                  <a:pt x="462064" y="528662"/>
                </a:lnTo>
                <a:lnTo>
                  <a:pt x="420712" y="530745"/>
                </a:lnTo>
                <a:lnTo>
                  <a:pt x="374180" y="537819"/>
                </a:lnTo>
                <a:lnTo>
                  <a:pt x="329260" y="549338"/>
                </a:lnTo>
                <a:lnTo>
                  <a:pt x="286207" y="565061"/>
                </a:lnTo>
                <a:lnTo>
                  <a:pt x="245237" y="584746"/>
                </a:lnTo>
                <a:lnTo>
                  <a:pt x="206603" y="608152"/>
                </a:lnTo>
                <a:lnTo>
                  <a:pt x="170522" y="635063"/>
                </a:lnTo>
                <a:lnTo>
                  <a:pt x="137248" y="665226"/>
                </a:lnTo>
                <a:lnTo>
                  <a:pt x="106997" y="698423"/>
                </a:lnTo>
                <a:lnTo>
                  <a:pt x="80022" y="734402"/>
                </a:lnTo>
                <a:lnTo>
                  <a:pt x="56553" y="772934"/>
                </a:lnTo>
                <a:lnTo>
                  <a:pt x="36817" y="813790"/>
                </a:lnTo>
                <a:lnTo>
                  <a:pt x="21056" y="856729"/>
                </a:lnTo>
                <a:lnTo>
                  <a:pt x="9512" y="901509"/>
                </a:lnTo>
                <a:lnTo>
                  <a:pt x="2413" y="947915"/>
                </a:lnTo>
                <a:lnTo>
                  <a:pt x="0" y="995680"/>
                </a:lnTo>
                <a:lnTo>
                  <a:pt x="2413" y="1043457"/>
                </a:lnTo>
                <a:lnTo>
                  <a:pt x="9512" y="1089863"/>
                </a:lnTo>
                <a:lnTo>
                  <a:pt x="21056" y="1134643"/>
                </a:lnTo>
                <a:lnTo>
                  <a:pt x="36817" y="1177582"/>
                </a:lnTo>
                <a:lnTo>
                  <a:pt x="56553" y="1218438"/>
                </a:lnTo>
                <a:lnTo>
                  <a:pt x="80022" y="1256969"/>
                </a:lnTo>
                <a:lnTo>
                  <a:pt x="106997" y="1292948"/>
                </a:lnTo>
                <a:lnTo>
                  <a:pt x="137248" y="1326146"/>
                </a:lnTo>
                <a:lnTo>
                  <a:pt x="170522" y="1356309"/>
                </a:lnTo>
                <a:lnTo>
                  <a:pt x="206603" y="1383220"/>
                </a:lnTo>
                <a:lnTo>
                  <a:pt x="245237" y="1406626"/>
                </a:lnTo>
                <a:lnTo>
                  <a:pt x="286207" y="1426311"/>
                </a:lnTo>
                <a:lnTo>
                  <a:pt x="329260" y="1442034"/>
                </a:lnTo>
                <a:lnTo>
                  <a:pt x="374180" y="1453553"/>
                </a:lnTo>
                <a:lnTo>
                  <a:pt x="420712" y="1460627"/>
                </a:lnTo>
                <a:lnTo>
                  <a:pt x="468630" y="1463040"/>
                </a:lnTo>
                <a:lnTo>
                  <a:pt x="516534" y="1460627"/>
                </a:lnTo>
                <a:lnTo>
                  <a:pt x="563067" y="1453553"/>
                </a:lnTo>
                <a:lnTo>
                  <a:pt x="607987" y="1442034"/>
                </a:lnTo>
                <a:lnTo>
                  <a:pt x="651040" y="1426311"/>
                </a:lnTo>
                <a:lnTo>
                  <a:pt x="692010" y="1406626"/>
                </a:lnTo>
                <a:lnTo>
                  <a:pt x="730643" y="1383220"/>
                </a:lnTo>
                <a:lnTo>
                  <a:pt x="766724" y="1356309"/>
                </a:lnTo>
                <a:lnTo>
                  <a:pt x="799998" y="1326134"/>
                </a:lnTo>
                <a:lnTo>
                  <a:pt x="830249" y="1292948"/>
                </a:lnTo>
                <a:lnTo>
                  <a:pt x="857224" y="1256969"/>
                </a:lnTo>
                <a:lnTo>
                  <a:pt x="880694" y="1218438"/>
                </a:lnTo>
                <a:lnTo>
                  <a:pt x="900430" y="1177582"/>
                </a:lnTo>
                <a:lnTo>
                  <a:pt x="916190" y="1134643"/>
                </a:lnTo>
                <a:lnTo>
                  <a:pt x="927735" y="1089863"/>
                </a:lnTo>
                <a:lnTo>
                  <a:pt x="934834" y="1043457"/>
                </a:lnTo>
                <a:lnTo>
                  <a:pt x="937260" y="99568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2" name="object 14">
            <a:extLst>
              <a:ext uri="{FF2B5EF4-FFF2-40B4-BE49-F238E27FC236}">
                <a16:creationId xmlns:a16="http://schemas.microsoft.com/office/drawing/2014/main" id="{3F3E82A5-D24B-4ADA-8FB9-BC8F274E5592}"/>
              </a:ext>
            </a:extLst>
          </p:cNvPr>
          <p:cNvSpPr/>
          <p:nvPr userDrawn="1"/>
        </p:nvSpPr>
        <p:spPr>
          <a:xfrm>
            <a:off x="3466994" y="2356760"/>
            <a:ext cx="968442" cy="1515823"/>
          </a:xfrm>
          <a:custGeom>
            <a:avLst/>
            <a:gdLst/>
            <a:ahLst/>
            <a:cxnLst/>
            <a:rect l="l" t="t" r="r" b="b"/>
            <a:pathLst>
              <a:path w="934720" h="1463039">
                <a:moveTo>
                  <a:pt x="934720" y="995680"/>
                </a:moveTo>
                <a:lnTo>
                  <a:pt x="932294" y="947915"/>
                </a:lnTo>
                <a:lnTo>
                  <a:pt x="925220" y="901509"/>
                </a:lnTo>
                <a:lnTo>
                  <a:pt x="913701" y="856729"/>
                </a:lnTo>
                <a:lnTo>
                  <a:pt x="897978" y="813790"/>
                </a:lnTo>
                <a:lnTo>
                  <a:pt x="878293" y="772934"/>
                </a:lnTo>
                <a:lnTo>
                  <a:pt x="854887" y="734402"/>
                </a:lnTo>
                <a:lnTo>
                  <a:pt x="827976" y="698423"/>
                </a:lnTo>
                <a:lnTo>
                  <a:pt x="797814" y="665226"/>
                </a:lnTo>
                <a:lnTo>
                  <a:pt x="764616" y="635063"/>
                </a:lnTo>
                <a:lnTo>
                  <a:pt x="728637" y="608152"/>
                </a:lnTo>
                <a:lnTo>
                  <a:pt x="690105" y="584746"/>
                </a:lnTo>
                <a:lnTo>
                  <a:pt x="649249" y="565061"/>
                </a:lnTo>
                <a:lnTo>
                  <a:pt x="606310" y="549338"/>
                </a:lnTo>
                <a:lnTo>
                  <a:pt x="561530" y="537819"/>
                </a:lnTo>
                <a:lnTo>
                  <a:pt x="515124" y="530745"/>
                </a:lnTo>
                <a:lnTo>
                  <a:pt x="472440" y="528586"/>
                </a:lnTo>
                <a:lnTo>
                  <a:pt x="472440" y="114300"/>
                </a:lnTo>
                <a:lnTo>
                  <a:pt x="472440" y="110477"/>
                </a:lnTo>
                <a:lnTo>
                  <a:pt x="475653" y="109829"/>
                </a:lnTo>
                <a:lnTo>
                  <a:pt x="493814" y="97586"/>
                </a:lnTo>
                <a:lnTo>
                  <a:pt x="506056" y="79425"/>
                </a:lnTo>
                <a:lnTo>
                  <a:pt x="510540" y="57150"/>
                </a:lnTo>
                <a:lnTo>
                  <a:pt x="506056" y="34886"/>
                </a:lnTo>
                <a:lnTo>
                  <a:pt x="493814" y="16725"/>
                </a:lnTo>
                <a:lnTo>
                  <a:pt x="475653" y="4483"/>
                </a:lnTo>
                <a:lnTo>
                  <a:pt x="453390" y="0"/>
                </a:lnTo>
                <a:lnTo>
                  <a:pt x="431114" y="4483"/>
                </a:lnTo>
                <a:lnTo>
                  <a:pt x="412953" y="16725"/>
                </a:lnTo>
                <a:lnTo>
                  <a:pt x="400710" y="34886"/>
                </a:lnTo>
                <a:lnTo>
                  <a:pt x="396240" y="57150"/>
                </a:lnTo>
                <a:lnTo>
                  <a:pt x="400710" y="79425"/>
                </a:lnTo>
                <a:lnTo>
                  <a:pt x="412953" y="97586"/>
                </a:lnTo>
                <a:lnTo>
                  <a:pt x="431114" y="109829"/>
                </a:lnTo>
                <a:lnTo>
                  <a:pt x="434340" y="110477"/>
                </a:lnTo>
                <a:lnTo>
                  <a:pt x="434340" y="528701"/>
                </a:lnTo>
                <a:lnTo>
                  <a:pt x="459854" y="528701"/>
                </a:lnTo>
                <a:lnTo>
                  <a:pt x="419582" y="530745"/>
                </a:lnTo>
                <a:lnTo>
                  <a:pt x="373176" y="537819"/>
                </a:lnTo>
                <a:lnTo>
                  <a:pt x="328396" y="549338"/>
                </a:lnTo>
                <a:lnTo>
                  <a:pt x="285457" y="565061"/>
                </a:lnTo>
                <a:lnTo>
                  <a:pt x="244602" y="584746"/>
                </a:lnTo>
                <a:lnTo>
                  <a:pt x="206070" y="608152"/>
                </a:lnTo>
                <a:lnTo>
                  <a:pt x="170091" y="635063"/>
                </a:lnTo>
                <a:lnTo>
                  <a:pt x="136893" y="665226"/>
                </a:lnTo>
                <a:lnTo>
                  <a:pt x="106730" y="698423"/>
                </a:lnTo>
                <a:lnTo>
                  <a:pt x="79819" y="734402"/>
                </a:lnTo>
                <a:lnTo>
                  <a:pt x="56413" y="772934"/>
                </a:lnTo>
                <a:lnTo>
                  <a:pt x="36728" y="813790"/>
                </a:lnTo>
                <a:lnTo>
                  <a:pt x="21005" y="856729"/>
                </a:lnTo>
                <a:lnTo>
                  <a:pt x="9486" y="901509"/>
                </a:lnTo>
                <a:lnTo>
                  <a:pt x="2413" y="947915"/>
                </a:lnTo>
                <a:lnTo>
                  <a:pt x="0" y="995680"/>
                </a:lnTo>
                <a:lnTo>
                  <a:pt x="2413" y="1043457"/>
                </a:lnTo>
                <a:lnTo>
                  <a:pt x="9486" y="1089863"/>
                </a:lnTo>
                <a:lnTo>
                  <a:pt x="21005" y="1134643"/>
                </a:lnTo>
                <a:lnTo>
                  <a:pt x="36728" y="1177582"/>
                </a:lnTo>
                <a:lnTo>
                  <a:pt x="56413" y="1218438"/>
                </a:lnTo>
                <a:lnTo>
                  <a:pt x="79819" y="1256969"/>
                </a:lnTo>
                <a:lnTo>
                  <a:pt x="106730" y="1292948"/>
                </a:lnTo>
                <a:lnTo>
                  <a:pt x="136893" y="1326146"/>
                </a:lnTo>
                <a:lnTo>
                  <a:pt x="170091" y="1356309"/>
                </a:lnTo>
                <a:lnTo>
                  <a:pt x="206070" y="1383220"/>
                </a:lnTo>
                <a:lnTo>
                  <a:pt x="244602" y="1406626"/>
                </a:lnTo>
                <a:lnTo>
                  <a:pt x="285457" y="1426311"/>
                </a:lnTo>
                <a:lnTo>
                  <a:pt x="328396" y="1442034"/>
                </a:lnTo>
                <a:lnTo>
                  <a:pt x="373176" y="1453553"/>
                </a:lnTo>
                <a:lnTo>
                  <a:pt x="419582" y="1460627"/>
                </a:lnTo>
                <a:lnTo>
                  <a:pt x="467360" y="1463040"/>
                </a:lnTo>
                <a:lnTo>
                  <a:pt x="515124" y="1460627"/>
                </a:lnTo>
                <a:lnTo>
                  <a:pt x="561530" y="1453553"/>
                </a:lnTo>
                <a:lnTo>
                  <a:pt x="606310" y="1442034"/>
                </a:lnTo>
                <a:lnTo>
                  <a:pt x="649249" y="1426311"/>
                </a:lnTo>
                <a:lnTo>
                  <a:pt x="690105" y="1406626"/>
                </a:lnTo>
                <a:lnTo>
                  <a:pt x="728637" y="1383220"/>
                </a:lnTo>
                <a:lnTo>
                  <a:pt x="764616" y="1356309"/>
                </a:lnTo>
                <a:lnTo>
                  <a:pt x="797814" y="1326134"/>
                </a:lnTo>
                <a:lnTo>
                  <a:pt x="827976" y="1292948"/>
                </a:lnTo>
                <a:lnTo>
                  <a:pt x="854887" y="1256969"/>
                </a:lnTo>
                <a:lnTo>
                  <a:pt x="878293" y="1218438"/>
                </a:lnTo>
                <a:lnTo>
                  <a:pt x="897978" y="1177582"/>
                </a:lnTo>
                <a:lnTo>
                  <a:pt x="913701" y="1134643"/>
                </a:lnTo>
                <a:lnTo>
                  <a:pt x="925220" y="1089863"/>
                </a:lnTo>
                <a:lnTo>
                  <a:pt x="932294" y="1043457"/>
                </a:lnTo>
                <a:lnTo>
                  <a:pt x="934720" y="99568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5" name="object 17">
            <a:extLst>
              <a:ext uri="{FF2B5EF4-FFF2-40B4-BE49-F238E27FC236}">
                <a16:creationId xmlns:a16="http://schemas.microsoft.com/office/drawing/2014/main" id="{5A179495-E1AF-4593-855F-A7D65CF1C027}"/>
              </a:ext>
            </a:extLst>
          </p:cNvPr>
          <p:cNvSpPr/>
          <p:nvPr userDrawn="1"/>
        </p:nvSpPr>
        <p:spPr>
          <a:xfrm>
            <a:off x="5611779" y="2356760"/>
            <a:ext cx="968442" cy="1515823"/>
          </a:xfrm>
          <a:custGeom>
            <a:avLst/>
            <a:gdLst/>
            <a:ahLst/>
            <a:cxnLst/>
            <a:rect l="l" t="t" r="r" b="b"/>
            <a:pathLst>
              <a:path w="934720" h="1463039">
                <a:moveTo>
                  <a:pt x="934707" y="995680"/>
                </a:moveTo>
                <a:lnTo>
                  <a:pt x="932294" y="947915"/>
                </a:lnTo>
                <a:lnTo>
                  <a:pt x="925220" y="901509"/>
                </a:lnTo>
                <a:lnTo>
                  <a:pt x="913701" y="856729"/>
                </a:lnTo>
                <a:lnTo>
                  <a:pt x="897978" y="813790"/>
                </a:lnTo>
                <a:lnTo>
                  <a:pt x="878293" y="772934"/>
                </a:lnTo>
                <a:lnTo>
                  <a:pt x="854887" y="734402"/>
                </a:lnTo>
                <a:lnTo>
                  <a:pt x="827976" y="698423"/>
                </a:lnTo>
                <a:lnTo>
                  <a:pt x="797814" y="665226"/>
                </a:lnTo>
                <a:lnTo>
                  <a:pt x="764616" y="635063"/>
                </a:lnTo>
                <a:lnTo>
                  <a:pt x="728637" y="608152"/>
                </a:lnTo>
                <a:lnTo>
                  <a:pt x="690105" y="584746"/>
                </a:lnTo>
                <a:lnTo>
                  <a:pt x="649249" y="565061"/>
                </a:lnTo>
                <a:lnTo>
                  <a:pt x="606310" y="549338"/>
                </a:lnTo>
                <a:lnTo>
                  <a:pt x="561530" y="537819"/>
                </a:lnTo>
                <a:lnTo>
                  <a:pt x="515124" y="530745"/>
                </a:lnTo>
                <a:lnTo>
                  <a:pt x="474853" y="528701"/>
                </a:lnTo>
                <a:lnTo>
                  <a:pt x="500380" y="528701"/>
                </a:lnTo>
                <a:lnTo>
                  <a:pt x="500380" y="114300"/>
                </a:lnTo>
                <a:lnTo>
                  <a:pt x="500380" y="110477"/>
                </a:lnTo>
                <a:lnTo>
                  <a:pt x="503593" y="109829"/>
                </a:lnTo>
                <a:lnTo>
                  <a:pt x="521754" y="97586"/>
                </a:lnTo>
                <a:lnTo>
                  <a:pt x="533996" y="79425"/>
                </a:lnTo>
                <a:lnTo>
                  <a:pt x="538480" y="57150"/>
                </a:lnTo>
                <a:lnTo>
                  <a:pt x="533996" y="34886"/>
                </a:lnTo>
                <a:lnTo>
                  <a:pt x="521754" y="16725"/>
                </a:lnTo>
                <a:lnTo>
                  <a:pt x="503593" y="4483"/>
                </a:lnTo>
                <a:lnTo>
                  <a:pt x="481330" y="0"/>
                </a:lnTo>
                <a:lnTo>
                  <a:pt x="459054" y="4483"/>
                </a:lnTo>
                <a:lnTo>
                  <a:pt x="440893" y="16725"/>
                </a:lnTo>
                <a:lnTo>
                  <a:pt x="428650" y="34886"/>
                </a:lnTo>
                <a:lnTo>
                  <a:pt x="424180" y="57150"/>
                </a:lnTo>
                <a:lnTo>
                  <a:pt x="428650" y="79425"/>
                </a:lnTo>
                <a:lnTo>
                  <a:pt x="440893" y="97586"/>
                </a:lnTo>
                <a:lnTo>
                  <a:pt x="459054" y="109829"/>
                </a:lnTo>
                <a:lnTo>
                  <a:pt x="462280" y="110477"/>
                </a:lnTo>
                <a:lnTo>
                  <a:pt x="462280" y="528586"/>
                </a:lnTo>
                <a:lnTo>
                  <a:pt x="419582" y="530745"/>
                </a:lnTo>
                <a:lnTo>
                  <a:pt x="373176" y="537819"/>
                </a:lnTo>
                <a:lnTo>
                  <a:pt x="328396" y="549338"/>
                </a:lnTo>
                <a:lnTo>
                  <a:pt x="285457" y="565061"/>
                </a:lnTo>
                <a:lnTo>
                  <a:pt x="244602" y="584746"/>
                </a:lnTo>
                <a:lnTo>
                  <a:pt x="206070" y="608152"/>
                </a:lnTo>
                <a:lnTo>
                  <a:pt x="170091" y="635063"/>
                </a:lnTo>
                <a:lnTo>
                  <a:pt x="136893" y="665226"/>
                </a:lnTo>
                <a:lnTo>
                  <a:pt x="106730" y="698423"/>
                </a:lnTo>
                <a:lnTo>
                  <a:pt x="79819" y="734402"/>
                </a:lnTo>
                <a:lnTo>
                  <a:pt x="56413" y="772934"/>
                </a:lnTo>
                <a:lnTo>
                  <a:pt x="36728" y="813790"/>
                </a:lnTo>
                <a:lnTo>
                  <a:pt x="21005" y="856729"/>
                </a:lnTo>
                <a:lnTo>
                  <a:pt x="9486" y="901509"/>
                </a:lnTo>
                <a:lnTo>
                  <a:pt x="2413" y="947915"/>
                </a:lnTo>
                <a:lnTo>
                  <a:pt x="0" y="995680"/>
                </a:lnTo>
                <a:lnTo>
                  <a:pt x="2413" y="1043457"/>
                </a:lnTo>
                <a:lnTo>
                  <a:pt x="9486" y="1089863"/>
                </a:lnTo>
                <a:lnTo>
                  <a:pt x="21005" y="1134643"/>
                </a:lnTo>
                <a:lnTo>
                  <a:pt x="36728" y="1177582"/>
                </a:lnTo>
                <a:lnTo>
                  <a:pt x="56413" y="1218438"/>
                </a:lnTo>
                <a:lnTo>
                  <a:pt x="79819" y="1256969"/>
                </a:lnTo>
                <a:lnTo>
                  <a:pt x="106730" y="1292948"/>
                </a:lnTo>
                <a:lnTo>
                  <a:pt x="136893" y="1326146"/>
                </a:lnTo>
                <a:lnTo>
                  <a:pt x="170091" y="1356309"/>
                </a:lnTo>
                <a:lnTo>
                  <a:pt x="206070" y="1383220"/>
                </a:lnTo>
                <a:lnTo>
                  <a:pt x="244602" y="1406626"/>
                </a:lnTo>
                <a:lnTo>
                  <a:pt x="285457" y="1426311"/>
                </a:lnTo>
                <a:lnTo>
                  <a:pt x="328396" y="1442034"/>
                </a:lnTo>
                <a:lnTo>
                  <a:pt x="373176" y="1453553"/>
                </a:lnTo>
                <a:lnTo>
                  <a:pt x="419582" y="1460627"/>
                </a:lnTo>
                <a:lnTo>
                  <a:pt x="467360" y="1463040"/>
                </a:lnTo>
                <a:lnTo>
                  <a:pt x="515124" y="1460627"/>
                </a:lnTo>
                <a:lnTo>
                  <a:pt x="561530" y="1453553"/>
                </a:lnTo>
                <a:lnTo>
                  <a:pt x="606310" y="1442034"/>
                </a:lnTo>
                <a:lnTo>
                  <a:pt x="649249" y="1426311"/>
                </a:lnTo>
                <a:lnTo>
                  <a:pt x="690105" y="1406626"/>
                </a:lnTo>
                <a:lnTo>
                  <a:pt x="728637" y="1383220"/>
                </a:lnTo>
                <a:lnTo>
                  <a:pt x="764616" y="1356309"/>
                </a:lnTo>
                <a:lnTo>
                  <a:pt x="797814" y="1326134"/>
                </a:lnTo>
                <a:lnTo>
                  <a:pt x="827976" y="1292948"/>
                </a:lnTo>
                <a:lnTo>
                  <a:pt x="854887" y="1256969"/>
                </a:lnTo>
                <a:lnTo>
                  <a:pt x="878293" y="1218438"/>
                </a:lnTo>
                <a:lnTo>
                  <a:pt x="897978" y="1177582"/>
                </a:lnTo>
                <a:lnTo>
                  <a:pt x="913701" y="1134643"/>
                </a:lnTo>
                <a:lnTo>
                  <a:pt x="925220" y="1089863"/>
                </a:lnTo>
                <a:lnTo>
                  <a:pt x="932294" y="1043457"/>
                </a:lnTo>
                <a:lnTo>
                  <a:pt x="934707" y="99568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object 20">
            <a:extLst>
              <a:ext uri="{FF2B5EF4-FFF2-40B4-BE49-F238E27FC236}">
                <a16:creationId xmlns:a16="http://schemas.microsoft.com/office/drawing/2014/main" id="{948823F9-C888-4906-A10A-4F718C415641}"/>
              </a:ext>
            </a:extLst>
          </p:cNvPr>
          <p:cNvSpPr/>
          <p:nvPr userDrawn="1"/>
        </p:nvSpPr>
        <p:spPr>
          <a:xfrm>
            <a:off x="7756564" y="2359392"/>
            <a:ext cx="968442" cy="1513191"/>
          </a:xfrm>
          <a:custGeom>
            <a:avLst/>
            <a:gdLst/>
            <a:ahLst/>
            <a:cxnLst/>
            <a:rect l="l" t="t" r="r" b="b"/>
            <a:pathLst>
              <a:path w="934720" h="1460500">
                <a:moveTo>
                  <a:pt x="520700" y="56388"/>
                </a:moveTo>
                <a:lnTo>
                  <a:pt x="515912" y="34188"/>
                </a:lnTo>
                <a:lnTo>
                  <a:pt x="503402" y="16192"/>
                </a:lnTo>
                <a:lnTo>
                  <a:pt x="485063" y="4203"/>
                </a:lnTo>
                <a:lnTo>
                  <a:pt x="462788" y="0"/>
                </a:lnTo>
                <a:lnTo>
                  <a:pt x="440575" y="4787"/>
                </a:lnTo>
                <a:lnTo>
                  <a:pt x="422592" y="17297"/>
                </a:lnTo>
                <a:lnTo>
                  <a:pt x="410591" y="35636"/>
                </a:lnTo>
                <a:lnTo>
                  <a:pt x="406400" y="57912"/>
                </a:lnTo>
                <a:lnTo>
                  <a:pt x="411175" y="80124"/>
                </a:lnTo>
                <a:lnTo>
                  <a:pt x="423684" y="98107"/>
                </a:lnTo>
                <a:lnTo>
                  <a:pt x="442023" y="110109"/>
                </a:lnTo>
                <a:lnTo>
                  <a:pt x="445223" y="110705"/>
                </a:lnTo>
                <a:lnTo>
                  <a:pt x="481012" y="110705"/>
                </a:lnTo>
                <a:lnTo>
                  <a:pt x="483336" y="110705"/>
                </a:lnTo>
                <a:lnTo>
                  <a:pt x="483323" y="110210"/>
                </a:lnTo>
                <a:lnTo>
                  <a:pt x="486511" y="109524"/>
                </a:lnTo>
                <a:lnTo>
                  <a:pt x="504507" y="97015"/>
                </a:lnTo>
                <a:lnTo>
                  <a:pt x="516496" y="78676"/>
                </a:lnTo>
                <a:lnTo>
                  <a:pt x="520598" y="56896"/>
                </a:lnTo>
                <a:lnTo>
                  <a:pt x="520700" y="56388"/>
                </a:lnTo>
                <a:close/>
              </a:path>
              <a:path w="934720" h="1460500">
                <a:moveTo>
                  <a:pt x="934720" y="993140"/>
                </a:moveTo>
                <a:lnTo>
                  <a:pt x="932294" y="945375"/>
                </a:lnTo>
                <a:lnTo>
                  <a:pt x="925220" y="898969"/>
                </a:lnTo>
                <a:lnTo>
                  <a:pt x="913701" y="854189"/>
                </a:lnTo>
                <a:lnTo>
                  <a:pt x="897978" y="811250"/>
                </a:lnTo>
                <a:lnTo>
                  <a:pt x="878293" y="770394"/>
                </a:lnTo>
                <a:lnTo>
                  <a:pt x="854887" y="731862"/>
                </a:lnTo>
                <a:lnTo>
                  <a:pt x="827976" y="695883"/>
                </a:lnTo>
                <a:lnTo>
                  <a:pt x="797801" y="662686"/>
                </a:lnTo>
                <a:lnTo>
                  <a:pt x="764616" y="632523"/>
                </a:lnTo>
                <a:lnTo>
                  <a:pt x="728637" y="605612"/>
                </a:lnTo>
                <a:lnTo>
                  <a:pt x="690105" y="582206"/>
                </a:lnTo>
                <a:lnTo>
                  <a:pt x="649249" y="562521"/>
                </a:lnTo>
                <a:lnTo>
                  <a:pt x="606310" y="546798"/>
                </a:lnTo>
                <a:lnTo>
                  <a:pt x="561530" y="535279"/>
                </a:lnTo>
                <a:lnTo>
                  <a:pt x="515124" y="528205"/>
                </a:lnTo>
                <a:lnTo>
                  <a:pt x="473849" y="526110"/>
                </a:lnTo>
                <a:lnTo>
                  <a:pt x="489077" y="525907"/>
                </a:lnTo>
                <a:lnTo>
                  <a:pt x="483387" y="114300"/>
                </a:lnTo>
                <a:lnTo>
                  <a:pt x="464312" y="114300"/>
                </a:lnTo>
                <a:lnTo>
                  <a:pt x="445274" y="114300"/>
                </a:lnTo>
                <a:lnTo>
                  <a:pt x="450977" y="526415"/>
                </a:lnTo>
                <a:lnTo>
                  <a:pt x="456222" y="526351"/>
                </a:lnTo>
                <a:lnTo>
                  <a:pt x="419582" y="528205"/>
                </a:lnTo>
                <a:lnTo>
                  <a:pt x="373176" y="535279"/>
                </a:lnTo>
                <a:lnTo>
                  <a:pt x="328396" y="546798"/>
                </a:lnTo>
                <a:lnTo>
                  <a:pt x="285457" y="562521"/>
                </a:lnTo>
                <a:lnTo>
                  <a:pt x="244602" y="582206"/>
                </a:lnTo>
                <a:lnTo>
                  <a:pt x="206070" y="605612"/>
                </a:lnTo>
                <a:lnTo>
                  <a:pt x="170091" y="632523"/>
                </a:lnTo>
                <a:lnTo>
                  <a:pt x="136906" y="662686"/>
                </a:lnTo>
                <a:lnTo>
                  <a:pt x="106730" y="695883"/>
                </a:lnTo>
                <a:lnTo>
                  <a:pt x="79819" y="731862"/>
                </a:lnTo>
                <a:lnTo>
                  <a:pt x="56413" y="770394"/>
                </a:lnTo>
                <a:lnTo>
                  <a:pt x="36728" y="811250"/>
                </a:lnTo>
                <a:lnTo>
                  <a:pt x="21005" y="854189"/>
                </a:lnTo>
                <a:lnTo>
                  <a:pt x="9486" y="898969"/>
                </a:lnTo>
                <a:lnTo>
                  <a:pt x="2413" y="945375"/>
                </a:lnTo>
                <a:lnTo>
                  <a:pt x="0" y="993140"/>
                </a:lnTo>
                <a:lnTo>
                  <a:pt x="2413" y="1040917"/>
                </a:lnTo>
                <a:lnTo>
                  <a:pt x="9486" y="1087323"/>
                </a:lnTo>
                <a:lnTo>
                  <a:pt x="21005" y="1132103"/>
                </a:lnTo>
                <a:lnTo>
                  <a:pt x="36728" y="1175042"/>
                </a:lnTo>
                <a:lnTo>
                  <a:pt x="56413" y="1215898"/>
                </a:lnTo>
                <a:lnTo>
                  <a:pt x="79819" y="1254429"/>
                </a:lnTo>
                <a:lnTo>
                  <a:pt x="106730" y="1290408"/>
                </a:lnTo>
                <a:lnTo>
                  <a:pt x="136906" y="1323606"/>
                </a:lnTo>
                <a:lnTo>
                  <a:pt x="170091" y="1353769"/>
                </a:lnTo>
                <a:lnTo>
                  <a:pt x="206070" y="1380680"/>
                </a:lnTo>
                <a:lnTo>
                  <a:pt x="244602" y="1404086"/>
                </a:lnTo>
                <a:lnTo>
                  <a:pt x="285457" y="1423771"/>
                </a:lnTo>
                <a:lnTo>
                  <a:pt x="328396" y="1439494"/>
                </a:lnTo>
                <a:lnTo>
                  <a:pt x="373176" y="1451013"/>
                </a:lnTo>
                <a:lnTo>
                  <a:pt x="419582" y="1458087"/>
                </a:lnTo>
                <a:lnTo>
                  <a:pt x="467360" y="1460500"/>
                </a:lnTo>
                <a:lnTo>
                  <a:pt x="515124" y="1458087"/>
                </a:lnTo>
                <a:lnTo>
                  <a:pt x="561530" y="1451013"/>
                </a:lnTo>
                <a:lnTo>
                  <a:pt x="606310" y="1439494"/>
                </a:lnTo>
                <a:lnTo>
                  <a:pt x="649249" y="1423771"/>
                </a:lnTo>
                <a:lnTo>
                  <a:pt x="690105" y="1404086"/>
                </a:lnTo>
                <a:lnTo>
                  <a:pt x="728637" y="1380680"/>
                </a:lnTo>
                <a:lnTo>
                  <a:pt x="764616" y="1353769"/>
                </a:lnTo>
                <a:lnTo>
                  <a:pt x="797814" y="1323594"/>
                </a:lnTo>
                <a:lnTo>
                  <a:pt x="827976" y="1290408"/>
                </a:lnTo>
                <a:lnTo>
                  <a:pt x="854887" y="1254429"/>
                </a:lnTo>
                <a:lnTo>
                  <a:pt x="878293" y="1215898"/>
                </a:lnTo>
                <a:lnTo>
                  <a:pt x="897978" y="1175042"/>
                </a:lnTo>
                <a:lnTo>
                  <a:pt x="913701" y="1132103"/>
                </a:lnTo>
                <a:lnTo>
                  <a:pt x="925220" y="1087323"/>
                </a:lnTo>
                <a:lnTo>
                  <a:pt x="932294" y="1040917"/>
                </a:lnTo>
                <a:lnTo>
                  <a:pt x="934720" y="99314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object 23">
            <a:extLst>
              <a:ext uri="{FF2B5EF4-FFF2-40B4-BE49-F238E27FC236}">
                <a16:creationId xmlns:a16="http://schemas.microsoft.com/office/drawing/2014/main" id="{CB0A0FB0-66C9-4E44-8ADA-7B641F67766A}"/>
              </a:ext>
            </a:extLst>
          </p:cNvPr>
          <p:cNvSpPr/>
          <p:nvPr userDrawn="1"/>
        </p:nvSpPr>
        <p:spPr>
          <a:xfrm>
            <a:off x="9901348" y="2356760"/>
            <a:ext cx="971074" cy="1515823"/>
          </a:xfrm>
          <a:custGeom>
            <a:avLst/>
            <a:gdLst/>
            <a:ahLst/>
            <a:cxnLst/>
            <a:rect l="l" t="t" r="r" b="b"/>
            <a:pathLst>
              <a:path w="937259" h="1463039">
                <a:moveTo>
                  <a:pt x="937260" y="995680"/>
                </a:moveTo>
                <a:lnTo>
                  <a:pt x="934834" y="947915"/>
                </a:lnTo>
                <a:lnTo>
                  <a:pt x="927735" y="901509"/>
                </a:lnTo>
                <a:lnTo>
                  <a:pt x="916190" y="856729"/>
                </a:lnTo>
                <a:lnTo>
                  <a:pt x="900430" y="813790"/>
                </a:lnTo>
                <a:lnTo>
                  <a:pt x="880694" y="772934"/>
                </a:lnTo>
                <a:lnTo>
                  <a:pt x="857224" y="734402"/>
                </a:lnTo>
                <a:lnTo>
                  <a:pt x="830249" y="698423"/>
                </a:lnTo>
                <a:lnTo>
                  <a:pt x="799998" y="665226"/>
                </a:lnTo>
                <a:lnTo>
                  <a:pt x="766724" y="635063"/>
                </a:lnTo>
                <a:lnTo>
                  <a:pt x="730643" y="608152"/>
                </a:lnTo>
                <a:lnTo>
                  <a:pt x="692010" y="584746"/>
                </a:lnTo>
                <a:lnTo>
                  <a:pt x="651040" y="565061"/>
                </a:lnTo>
                <a:lnTo>
                  <a:pt x="607987" y="549338"/>
                </a:lnTo>
                <a:lnTo>
                  <a:pt x="563067" y="537819"/>
                </a:lnTo>
                <a:lnTo>
                  <a:pt x="516534" y="530745"/>
                </a:lnTo>
                <a:lnTo>
                  <a:pt x="476148" y="528701"/>
                </a:lnTo>
                <a:lnTo>
                  <a:pt x="487680" y="528701"/>
                </a:lnTo>
                <a:lnTo>
                  <a:pt x="487680" y="114300"/>
                </a:lnTo>
                <a:lnTo>
                  <a:pt x="487680" y="110477"/>
                </a:lnTo>
                <a:lnTo>
                  <a:pt x="490893" y="109829"/>
                </a:lnTo>
                <a:lnTo>
                  <a:pt x="509054" y="97586"/>
                </a:lnTo>
                <a:lnTo>
                  <a:pt x="521296" y="79425"/>
                </a:lnTo>
                <a:lnTo>
                  <a:pt x="525780" y="57150"/>
                </a:lnTo>
                <a:lnTo>
                  <a:pt x="521296" y="34886"/>
                </a:lnTo>
                <a:lnTo>
                  <a:pt x="509054" y="16725"/>
                </a:lnTo>
                <a:lnTo>
                  <a:pt x="490893" y="4483"/>
                </a:lnTo>
                <a:lnTo>
                  <a:pt x="468630" y="0"/>
                </a:lnTo>
                <a:lnTo>
                  <a:pt x="446354" y="4483"/>
                </a:lnTo>
                <a:lnTo>
                  <a:pt x="428193" y="16725"/>
                </a:lnTo>
                <a:lnTo>
                  <a:pt x="415950" y="34886"/>
                </a:lnTo>
                <a:lnTo>
                  <a:pt x="411480" y="57150"/>
                </a:lnTo>
                <a:lnTo>
                  <a:pt x="415950" y="79425"/>
                </a:lnTo>
                <a:lnTo>
                  <a:pt x="428193" y="97586"/>
                </a:lnTo>
                <a:lnTo>
                  <a:pt x="446354" y="109829"/>
                </a:lnTo>
                <a:lnTo>
                  <a:pt x="449580" y="110477"/>
                </a:lnTo>
                <a:lnTo>
                  <a:pt x="449580" y="528701"/>
                </a:lnTo>
                <a:lnTo>
                  <a:pt x="461098" y="528701"/>
                </a:lnTo>
                <a:lnTo>
                  <a:pt x="420712" y="530745"/>
                </a:lnTo>
                <a:lnTo>
                  <a:pt x="374180" y="537819"/>
                </a:lnTo>
                <a:lnTo>
                  <a:pt x="329260" y="549338"/>
                </a:lnTo>
                <a:lnTo>
                  <a:pt x="286207" y="565061"/>
                </a:lnTo>
                <a:lnTo>
                  <a:pt x="245237" y="584746"/>
                </a:lnTo>
                <a:lnTo>
                  <a:pt x="206603" y="608152"/>
                </a:lnTo>
                <a:lnTo>
                  <a:pt x="170522" y="635063"/>
                </a:lnTo>
                <a:lnTo>
                  <a:pt x="137248" y="665226"/>
                </a:lnTo>
                <a:lnTo>
                  <a:pt x="106997" y="698423"/>
                </a:lnTo>
                <a:lnTo>
                  <a:pt x="80022" y="734402"/>
                </a:lnTo>
                <a:lnTo>
                  <a:pt x="56553" y="772934"/>
                </a:lnTo>
                <a:lnTo>
                  <a:pt x="36817" y="813790"/>
                </a:lnTo>
                <a:lnTo>
                  <a:pt x="21056" y="856729"/>
                </a:lnTo>
                <a:lnTo>
                  <a:pt x="9512" y="901509"/>
                </a:lnTo>
                <a:lnTo>
                  <a:pt x="2413" y="947915"/>
                </a:lnTo>
                <a:lnTo>
                  <a:pt x="0" y="995680"/>
                </a:lnTo>
                <a:lnTo>
                  <a:pt x="2413" y="1043457"/>
                </a:lnTo>
                <a:lnTo>
                  <a:pt x="9512" y="1089863"/>
                </a:lnTo>
                <a:lnTo>
                  <a:pt x="21056" y="1134643"/>
                </a:lnTo>
                <a:lnTo>
                  <a:pt x="36817" y="1177582"/>
                </a:lnTo>
                <a:lnTo>
                  <a:pt x="56553" y="1218438"/>
                </a:lnTo>
                <a:lnTo>
                  <a:pt x="80022" y="1256969"/>
                </a:lnTo>
                <a:lnTo>
                  <a:pt x="106997" y="1292948"/>
                </a:lnTo>
                <a:lnTo>
                  <a:pt x="137248" y="1326146"/>
                </a:lnTo>
                <a:lnTo>
                  <a:pt x="170522" y="1356309"/>
                </a:lnTo>
                <a:lnTo>
                  <a:pt x="206603" y="1383220"/>
                </a:lnTo>
                <a:lnTo>
                  <a:pt x="245237" y="1406626"/>
                </a:lnTo>
                <a:lnTo>
                  <a:pt x="286207" y="1426311"/>
                </a:lnTo>
                <a:lnTo>
                  <a:pt x="329260" y="1442034"/>
                </a:lnTo>
                <a:lnTo>
                  <a:pt x="374180" y="1453553"/>
                </a:lnTo>
                <a:lnTo>
                  <a:pt x="420712" y="1460627"/>
                </a:lnTo>
                <a:lnTo>
                  <a:pt x="468630" y="1463040"/>
                </a:lnTo>
                <a:lnTo>
                  <a:pt x="516534" y="1460627"/>
                </a:lnTo>
                <a:lnTo>
                  <a:pt x="563067" y="1453553"/>
                </a:lnTo>
                <a:lnTo>
                  <a:pt x="607987" y="1442034"/>
                </a:lnTo>
                <a:lnTo>
                  <a:pt x="651040" y="1426311"/>
                </a:lnTo>
                <a:lnTo>
                  <a:pt x="692010" y="1406626"/>
                </a:lnTo>
                <a:lnTo>
                  <a:pt x="730643" y="1383220"/>
                </a:lnTo>
                <a:lnTo>
                  <a:pt x="766724" y="1356309"/>
                </a:lnTo>
                <a:lnTo>
                  <a:pt x="799998" y="1326134"/>
                </a:lnTo>
                <a:lnTo>
                  <a:pt x="830249" y="1292948"/>
                </a:lnTo>
                <a:lnTo>
                  <a:pt x="857224" y="1256969"/>
                </a:lnTo>
                <a:lnTo>
                  <a:pt x="880694" y="1218438"/>
                </a:lnTo>
                <a:lnTo>
                  <a:pt x="900430" y="1177582"/>
                </a:lnTo>
                <a:lnTo>
                  <a:pt x="916190" y="1134643"/>
                </a:lnTo>
                <a:lnTo>
                  <a:pt x="927735" y="1089863"/>
                </a:lnTo>
                <a:lnTo>
                  <a:pt x="934834" y="1043457"/>
                </a:lnTo>
                <a:lnTo>
                  <a:pt x="937260" y="9956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AD515CFD-E9A2-4D74-8970-B5B1EDC5F3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44074" y="1656365"/>
            <a:ext cx="90444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9D88A184-845C-4FB4-89CA-B003013555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98991" y="1656365"/>
            <a:ext cx="90444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75C8CF34-CB5C-4C22-9877-49EA8C059A1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43776" y="1656365"/>
            <a:ext cx="90444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68" name="Text Placeholder 17">
            <a:extLst>
              <a:ext uri="{FF2B5EF4-FFF2-40B4-BE49-F238E27FC236}">
                <a16:creationId xmlns:a16="http://schemas.microsoft.com/office/drawing/2014/main" id="{982679EF-492D-46B0-8E6F-21AD7143217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88561" y="1656365"/>
            <a:ext cx="90444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5B51E7F0-F3AF-4D5D-B67E-47CD1039EA6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933346" y="1656365"/>
            <a:ext cx="90444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70" name="Text Placeholder 17">
            <a:extLst>
              <a:ext uri="{FF2B5EF4-FFF2-40B4-BE49-F238E27FC236}">
                <a16:creationId xmlns:a16="http://schemas.microsoft.com/office/drawing/2014/main" id="{CFCEDB88-4AA8-4BA3-89EC-0823B310135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980392" y="4048929"/>
            <a:ext cx="19416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7F6D2960-DCBA-4C93-9584-563C2E96873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80392" y="4356253"/>
            <a:ext cx="194164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6D5BD546-8BED-4FC5-975F-5C503052DE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25177" y="4048929"/>
            <a:ext cx="19416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975BD968-6B6C-48DF-9A88-AB4820B4D25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5177" y="4356253"/>
            <a:ext cx="194164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74" name="Text Placeholder 17">
            <a:extLst>
              <a:ext uri="{FF2B5EF4-FFF2-40B4-BE49-F238E27FC236}">
                <a16:creationId xmlns:a16="http://schemas.microsoft.com/office/drawing/2014/main" id="{3785EEEB-DBD9-44A8-832B-07F92EBCB1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69962" y="4048929"/>
            <a:ext cx="19416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B363DAF8-4BFB-42D3-8FDA-DCC791D669E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9962" y="4356253"/>
            <a:ext cx="194164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B9253252-E02F-4D46-A715-C760BD8742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4747" y="4048929"/>
            <a:ext cx="194164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7" name="Text Placeholder 17">
            <a:extLst>
              <a:ext uri="{FF2B5EF4-FFF2-40B4-BE49-F238E27FC236}">
                <a16:creationId xmlns:a16="http://schemas.microsoft.com/office/drawing/2014/main" id="{5C4739AD-2A90-467C-8A5E-BF3A543441F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4747" y="4356253"/>
            <a:ext cx="194164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38" name="Picture 37" descr="darkest-green-horz.png">
            <a:extLst>
              <a:ext uri="{FF2B5EF4-FFF2-40B4-BE49-F238E27FC236}">
                <a16:creationId xmlns:a16="http://schemas.microsoft.com/office/drawing/2014/main" id="{D7388C02-5E8B-4893-9C05-9FF035ACCF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9506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2 Main Category with 3 Sub Catego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CDAF0663-F156-4E54-B51E-9FE9253C49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71202" y="1952422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05193EBD-15A1-4779-8DE4-990CED2E99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71202" y="2228969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sp>
        <p:nvSpPr>
          <p:cNvPr id="49" name="object 3">
            <a:extLst>
              <a:ext uri="{FF2B5EF4-FFF2-40B4-BE49-F238E27FC236}">
                <a16:creationId xmlns:a16="http://schemas.microsoft.com/office/drawing/2014/main" id="{145E2540-4EE0-442E-A8DE-87639B81F420}"/>
              </a:ext>
            </a:extLst>
          </p:cNvPr>
          <p:cNvSpPr/>
          <p:nvPr userDrawn="1"/>
        </p:nvSpPr>
        <p:spPr>
          <a:xfrm>
            <a:off x="4867775" y="1348965"/>
            <a:ext cx="2444782" cy="449543"/>
          </a:xfrm>
          <a:custGeom>
            <a:avLst/>
            <a:gdLst/>
            <a:ahLst/>
            <a:cxnLst/>
            <a:rect l="l" t="t" r="r" b="b"/>
            <a:pathLst>
              <a:path w="2465704" h="453389">
                <a:moveTo>
                  <a:pt x="33655" y="374776"/>
                </a:moveTo>
                <a:lnTo>
                  <a:pt x="0" y="453008"/>
                </a:lnTo>
                <a:lnTo>
                  <a:pt x="82804" y="432942"/>
                </a:lnTo>
                <a:lnTo>
                  <a:pt x="69282" y="416940"/>
                </a:lnTo>
                <a:lnTo>
                  <a:pt x="52578" y="416940"/>
                </a:lnTo>
                <a:lnTo>
                  <a:pt x="44450" y="407161"/>
                </a:lnTo>
                <a:lnTo>
                  <a:pt x="54126" y="399003"/>
                </a:lnTo>
                <a:lnTo>
                  <a:pt x="33655" y="374776"/>
                </a:lnTo>
                <a:close/>
              </a:path>
              <a:path w="2465704" h="453389">
                <a:moveTo>
                  <a:pt x="54126" y="399003"/>
                </a:moveTo>
                <a:lnTo>
                  <a:pt x="44450" y="407161"/>
                </a:lnTo>
                <a:lnTo>
                  <a:pt x="52578" y="416940"/>
                </a:lnTo>
                <a:lnTo>
                  <a:pt x="62332" y="408716"/>
                </a:lnTo>
                <a:lnTo>
                  <a:pt x="54126" y="399003"/>
                </a:lnTo>
                <a:close/>
              </a:path>
              <a:path w="2465704" h="453389">
                <a:moveTo>
                  <a:pt x="62332" y="408716"/>
                </a:moveTo>
                <a:lnTo>
                  <a:pt x="52578" y="416940"/>
                </a:lnTo>
                <a:lnTo>
                  <a:pt x="69282" y="416940"/>
                </a:lnTo>
                <a:lnTo>
                  <a:pt x="62332" y="408716"/>
                </a:lnTo>
                <a:close/>
              </a:path>
              <a:path w="2465704" h="453389">
                <a:moveTo>
                  <a:pt x="84582" y="375538"/>
                </a:moveTo>
                <a:lnTo>
                  <a:pt x="57404" y="396239"/>
                </a:lnTo>
                <a:lnTo>
                  <a:pt x="54126" y="399003"/>
                </a:lnTo>
                <a:lnTo>
                  <a:pt x="62332" y="408716"/>
                </a:lnTo>
                <a:lnTo>
                  <a:pt x="65532" y="406018"/>
                </a:lnTo>
                <a:lnTo>
                  <a:pt x="92202" y="385571"/>
                </a:lnTo>
                <a:lnTo>
                  <a:pt x="84582" y="375538"/>
                </a:lnTo>
                <a:close/>
              </a:path>
              <a:path w="2465704" h="453389">
                <a:moveTo>
                  <a:pt x="65608" y="406018"/>
                </a:moveTo>
                <a:lnTo>
                  <a:pt x="65278" y="406272"/>
                </a:lnTo>
                <a:lnTo>
                  <a:pt x="65608" y="406018"/>
                </a:lnTo>
                <a:close/>
              </a:path>
              <a:path w="2465704" h="453389">
                <a:moveTo>
                  <a:pt x="156591" y="323088"/>
                </a:moveTo>
                <a:lnTo>
                  <a:pt x="121412" y="347344"/>
                </a:lnTo>
                <a:lnTo>
                  <a:pt x="114808" y="352425"/>
                </a:lnTo>
                <a:lnTo>
                  <a:pt x="122555" y="362457"/>
                </a:lnTo>
                <a:lnTo>
                  <a:pt x="128905" y="357504"/>
                </a:lnTo>
                <a:lnTo>
                  <a:pt x="163830" y="333501"/>
                </a:lnTo>
                <a:lnTo>
                  <a:pt x="156591" y="323088"/>
                </a:lnTo>
                <a:close/>
              </a:path>
              <a:path w="2465704" h="453389">
                <a:moveTo>
                  <a:pt x="129019" y="357504"/>
                </a:moveTo>
                <a:lnTo>
                  <a:pt x="128650" y="357758"/>
                </a:lnTo>
                <a:lnTo>
                  <a:pt x="129019" y="357504"/>
                </a:lnTo>
                <a:close/>
              </a:path>
              <a:path w="2465704" h="453389">
                <a:moveTo>
                  <a:pt x="231394" y="274446"/>
                </a:moveTo>
                <a:lnTo>
                  <a:pt x="188341" y="301243"/>
                </a:lnTo>
                <a:lnTo>
                  <a:pt x="194945" y="312038"/>
                </a:lnTo>
                <a:lnTo>
                  <a:pt x="238125" y="285241"/>
                </a:lnTo>
                <a:lnTo>
                  <a:pt x="231394" y="274446"/>
                </a:lnTo>
                <a:close/>
              </a:path>
              <a:path w="2465704" h="453389">
                <a:moveTo>
                  <a:pt x="308610" y="229742"/>
                </a:moveTo>
                <a:lnTo>
                  <a:pt x="264287" y="254507"/>
                </a:lnTo>
                <a:lnTo>
                  <a:pt x="270510" y="265683"/>
                </a:lnTo>
                <a:lnTo>
                  <a:pt x="314833" y="240918"/>
                </a:lnTo>
                <a:lnTo>
                  <a:pt x="308610" y="229742"/>
                </a:lnTo>
                <a:close/>
              </a:path>
              <a:path w="2465704" h="453389">
                <a:moveTo>
                  <a:pt x="387858" y="188975"/>
                </a:moveTo>
                <a:lnTo>
                  <a:pt x="342519" y="211835"/>
                </a:lnTo>
                <a:lnTo>
                  <a:pt x="348234" y="223138"/>
                </a:lnTo>
                <a:lnTo>
                  <a:pt x="393573" y="200405"/>
                </a:lnTo>
                <a:lnTo>
                  <a:pt x="387858" y="188975"/>
                </a:lnTo>
                <a:close/>
              </a:path>
              <a:path w="2465704" h="453389">
                <a:moveTo>
                  <a:pt x="469138" y="152272"/>
                </a:moveTo>
                <a:lnTo>
                  <a:pt x="422783" y="172973"/>
                </a:lnTo>
                <a:lnTo>
                  <a:pt x="427990" y="184530"/>
                </a:lnTo>
                <a:lnTo>
                  <a:pt x="474345" y="163829"/>
                </a:lnTo>
                <a:lnTo>
                  <a:pt x="469138" y="152272"/>
                </a:lnTo>
                <a:close/>
              </a:path>
              <a:path w="2465704" h="453389">
                <a:moveTo>
                  <a:pt x="552450" y="119633"/>
                </a:moveTo>
                <a:lnTo>
                  <a:pt x="546988" y="121538"/>
                </a:lnTo>
                <a:lnTo>
                  <a:pt x="504825" y="138048"/>
                </a:lnTo>
                <a:lnTo>
                  <a:pt x="509524" y="149859"/>
                </a:lnTo>
                <a:lnTo>
                  <a:pt x="551434" y="133350"/>
                </a:lnTo>
                <a:lnTo>
                  <a:pt x="556641" y="131571"/>
                </a:lnTo>
                <a:lnTo>
                  <a:pt x="552450" y="119633"/>
                </a:lnTo>
                <a:close/>
              </a:path>
              <a:path w="2465704" h="453389">
                <a:moveTo>
                  <a:pt x="551544" y="133350"/>
                </a:moveTo>
                <a:lnTo>
                  <a:pt x="551180" y="133476"/>
                </a:lnTo>
                <a:lnTo>
                  <a:pt x="551544" y="133350"/>
                </a:lnTo>
                <a:close/>
              </a:path>
              <a:path w="2465704" h="453389">
                <a:moveTo>
                  <a:pt x="636905" y="90931"/>
                </a:moveTo>
                <a:lnTo>
                  <a:pt x="623443" y="94995"/>
                </a:lnTo>
                <a:lnTo>
                  <a:pt x="588391" y="107060"/>
                </a:lnTo>
                <a:lnTo>
                  <a:pt x="592582" y="119125"/>
                </a:lnTo>
                <a:lnTo>
                  <a:pt x="627380" y="107060"/>
                </a:lnTo>
                <a:lnTo>
                  <a:pt x="627542" y="107060"/>
                </a:lnTo>
                <a:lnTo>
                  <a:pt x="640461" y="103123"/>
                </a:lnTo>
                <a:lnTo>
                  <a:pt x="636905" y="90931"/>
                </a:lnTo>
                <a:close/>
              </a:path>
              <a:path w="2465704" h="453389">
                <a:moveTo>
                  <a:pt x="627542" y="107060"/>
                </a:moveTo>
                <a:lnTo>
                  <a:pt x="627380" y="107060"/>
                </a:lnTo>
                <a:lnTo>
                  <a:pt x="627126" y="107187"/>
                </a:lnTo>
                <a:lnTo>
                  <a:pt x="627542" y="107060"/>
                </a:lnTo>
                <a:close/>
              </a:path>
              <a:path w="2465704" h="453389">
                <a:moveTo>
                  <a:pt x="722630" y="66420"/>
                </a:moveTo>
                <a:lnTo>
                  <a:pt x="701040" y="71881"/>
                </a:lnTo>
                <a:lnTo>
                  <a:pt x="673354" y="80136"/>
                </a:lnTo>
                <a:lnTo>
                  <a:pt x="677037" y="92328"/>
                </a:lnTo>
                <a:lnTo>
                  <a:pt x="704469" y="84073"/>
                </a:lnTo>
                <a:lnTo>
                  <a:pt x="704714" y="84073"/>
                </a:lnTo>
                <a:lnTo>
                  <a:pt x="725678" y="78739"/>
                </a:lnTo>
                <a:lnTo>
                  <a:pt x="722630" y="66420"/>
                </a:lnTo>
                <a:close/>
              </a:path>
              <a:path w="2465704" h="453389">
                <a:moveTo>
                  <a:pt x="704714" y="84073"/>
                </a:moveTo>
                <a:lnTo>
                  <a:pt x="704469" y="84073"/>
                </a:lnTo>
                <a:lnTo>
                  <a:pt x="704215" y="84200"/>
                </a:lnTo>
                <a:lnTo>
                  <a:pt x="704714" y="84073"/>
                </a:lnTo>
                <a:close/>
              </a:path>
              <a:path w="2465704" h="453389">
                <a:moveTo>
                  <a:pt x="809244" y="45719"/>
                </a:moveTo>
                <a:lnTo>
                  <a:pt x="779780" y="51942"/>
                </a:lnTo>
                <a:lnTo>
                  <a:pt x="759460" y="57022"/>
                </a:lnTo>
                <a:lnTo>
                  <a:pt x="762635" y="69341"/>
                </a:lnTo>
                <a:lnTo>
                  <a:pt x="782701" y="64261"/>
                </a:lnTo>
                <a:lnTo>
                  <a:pt x="782447" y="64261"/>
                </a:lnTo>
                <a:lnTo>
                  <a:pt x="811911" y="58038"/>
                </a:lnTo>
                <a:lnTo>
                  <a:pt x="809244" y="45719"/>
                </a:lnTo>
                <a:close/>
              </a:path>
              <a:path w="2465704" h="453389">
                <a:moveTo>
                  <a:pt x="896747" y="28828"/>
                </a:moveTo>
                <a:lnTo>
                  <a:pt x="859282" y="35051"/>
                </a:lnTo>
                <a:lnTo>
                  <a:pt x="846582" y="37845"/>
                </a:lnTo>
                <a:lnTo>
                  <a:pt x="849122" y="50164"/>
                </a:lnTo>
                <a:lnTo>
                  <a:pt x="861695" y="47497"/>
                </a:lnTo>
                <a:lnTo>
                  <a:pt x="862190" y="47497"/>
                </a:lnTo>
                <a:lnTo>
                  <a:pt x="898906" y="41275"/>
                </a:lnTo>
                <a:lnTo>
                  <a:pt x="896747" y="28828"/>
                </a:lnTo>
                <a:close/>
              </a:path>
              <a:path w="2465704" h="453389">
                <a:moveTo>
                  <a:pt x="862190" y="47497"/>
                </a:moveTo>
                <a:lnTo>
                  <a:pt x="861695" y="47497"/>
                </a:lnTo>
                <a:lnTo>
                  <a:pt x="861441" y="47625"/>
                </a:lnTo>
                <a:lnTo>
                  <a:pt x="862190" y="47497"/>
                </a:lnTo>
                <a:close/>
              </a:path>
              <a:path w="2465704" h="453389">
                <a:moveTo>
                  <a:pt x="985012" y="15875"/>
                </a:moveTo>
                <a:lnTo>
                  <a:pt x="939546" y="21589"/>
                </a:lnTo>
                <a:lnTo>
                  <a:pt x="934338" y="22478"/>
                </a:lnTo>
                <a:lnTo>
                  <a:pt x="936498" y="35051"/>
                </a:lnTo>
                <a:lnTo>
                  <a:pt x="941451" y="34162"/>
                </a:lnTo>
                <a:lnTo>
                  <a:pt x="941197" y="34162"/>
                </a:lnTo>
                <a:lnTo>
                  <a:pt x="986536" y="28447"/>
                </a:lnTo>
                <a:lnTo>
                  <a:pt x="985012" y="15875"/>
                </a:lnTo>
                <a:close/>
              </a:path>
              <a:path w="2465704" h="453389">
                <a:moveTo>
                  <a:pt x="1073658" y="6730"/>
                </a:moveTo>
                <a:lnTo>
                  <a:pt x="1023112" y="11048"/>
                </a:lnTo>
                <a:lnTo>
                  <a:pt x="1024128" y="23748"/>
                </a:lnTo>
                <a:lnTo>
                  <a:pt x="1074801" y="19430"/>
                </a:lnTo>
                <a:lnTo>
                  <a:pt x="1073658" y="6730"/>
                </a:lnTo>
                <a:close/>
              </a:path>
              <a:path w="2465704" h="453389">
                <a:moveTo>
                  <a:pt x="1162685" y="1523"/>
                </a:moveTo>
                <a:lnTo>
                  <a:pt x="1111885" y="3809"/>
                </a:lnTo>
                <a:lnTo>
                  <a:pt x="1112520" y="16509"/>
                </a:lnTo>
                <a:lnTo>
                  <a:pt x="1163193" y="14096"/>
                </a:lnTo>
                <a:lnTo>
                  <a:pt x="1162685" y="1523"/>
                </a:lnTo>
                <a:close/>
              </a:path>
              <a:path w="2465704" h="453389">
                <a:moveTo>
                  <a:pt x="1251712" y="0"/>
                </a:moveTo>
                <a:lnTo>
                  <a:pt x="1200912" y="380"/>
                </a:lnTo>
                <a:lnTo>
                  <a:pt x="1201039" y="13080"/>
                </a:lnTo>
                <a:lnTo>
                  <a:pt x="1251839" y="12700"/>
                </a:lnTo>
                <a:lnTo>
                  <a:pt x="1251712" y="0"/>
                </a:lnTo>
                <a:close/>
              </a:path>
              <a:path w="2465704" h="453389">
                <a:moveTo>
                  <a:pt x="1290066" y="761"/>
                </a:moveTo>
                <a:lnTo>
                  <a:pt x="1289685" y="13461"/>
                </a:lnTo>
                <a:lnTo>
                  <a:pt x="1340485" y="15112"/>
                </a:lnTo>
                <a:lnTo>
                  <a:pt x="1340866" y="2412"/>
                </a:lnTo>
                <a:lnTo>
                  <a:pt x="1290066" y="761"/>
                </a:lnTo>
                <a:close/>
              </a:path>
              <a:path w="2465704" h="453389">
                <a:moveTo>
                  <a:pt x="1428651" y="21208"/>
                </a:moveTo>
                <a:lnTo>
                  <a:pt x="1426591" y="21208"/>
                </a:lnTo>
                <a:lnTo>
                  <a:pt x="1428623" y="21462"/>
                </a:lnTo>
                <a:lnTo>
                  <a:pt x="1428651" y="21208"/>
                </a:lnTo>
                <a:close/>
              </a:path>
              <a:path w="2465704" h="453389">
                <a:moveTo>
                  <a:pt x="1379093" y="5079"/>
                </a:moveTo>
                <a:lnTo>
                  <a:pt x="1378204" y="17652"/>
                </a:lnTo>
                <a:lnTo>
                  <a:pt x="1426845" y="21335"/>
                </a:lnTo>
                <a:lnTo>
                  <a:pt x="1426591" y="21208"/>
                </a:lnTo>
                <a:lnTo>
                  <a:pt x="1428651" y="21208"/>
                </a:lnTo>
                <a:lnTo>
                  <a:pt x="1430020" y="8889"/>
                </a:lnTo>
                <a:lnTo>
                  <a:pt x="1427988" y="8635"/>
                </a:lnTo>
                <a:lnTo>
                  <a:pt x="1379093" y="5079"/>
                </a:lnTo>
                <a:close/>
              </a:path>
              <a:path w="2465704" h="453389">
                <a:moveTo>
                  <a:pt x="1467866" y="13207"/>
                </a:moveTo>
                <a:lnTo>
                  <a:pt x="1466469" y="25780"/>
                </a:lnTo>
                <a:lnTo>
                  <a:pt x="1507490" y="30352"/>
                </a:lnTo>
                <a:lnTo>
                  <a:pt x="1507236" y="30352"/>
                </a:lnTo>
                <a:lnTo>
                  <a:pt x="1516634" y="31876"/>
                </a:lnTo>
                <a:lnTo>
                  <a:pt x="1518539" y="19303"/>
                </a:lnTo>
                <a:lnTo>
                  <a:pt x="1509014" y="17779"/>
                </a:lnTo>
                <a:lnTo>
                  <a:pt x="1467866" y="13207"/>
                </a:lnTo>
                <a:close/>
              </a:path>
              <a:path w="2465704" h="453389">
                <a:moveTo>
                  <a:pt x="1556258" y="25145"/>
                </a:moveTo>
                <a:lnTo>
                  <a:pt x="1554353" y="37718"/>
                </a:lnTo>
                <a:lnTo>
                  <a:pt x="1587627" y="42798"/>
                </a:lnTo>
                <a:lnTo>
                  <a:pt x="1587373" y="42798"/>
                </a:lnTo>
                <a:lnTo>
                  <a:pt x="1604137" y="46100"/>
                </a:lnTo>
                <a:lnTo>
                  <a:pt x="1606550" y="33654"/>
                </a:lnTo>
                <a:lnTo>
                  <a:pt x="1589659" y="30352"/>
                </a:lnTo>
                <a:lnTo>
                  <a:pt x="1556258" y="25145"/>
                </a:lnTo>
                <a:close/>
              </a:path>
              <a:path w="2465704" h="453389">
                <a:moveTo>
                  <a:pt x="1644015" y="40893"/>
                </a:moveTo>
                <a:lnTo>
                  <a:pt x="1641475" y="53339"/>
                </a:lnTo>
                <a:lnTo>
                  <a:pt x="1667256" y="58419"/>
                </a:lnTo>
                <a:lnTo>
                  <a:pt x="1667002" y="58419"/>
                </a:lnTo>
                <a:lnTo>
                  <a:pt x="1690878" y="64134"/>
                </a:lnTo>
                <a:lnTo>
                  <a:pt x="1693799" y="51815"/>
                </a:lnTo>
                <a:lnTo>
                  <a:pt x="1669796" y="45973"/>
                </a:lnTo>
                <a:lnTo>
                  <a:pt x="1644015" y="40893"/>
                </a:lnTo>
                <a:close/>
              </a:path>
              <a:path w="2465704" h="453389">
                <a:moveTo>
                  <a:pt x="1779230" y="77215"/>
                </a:moveTo>
                <a:lnTo>
                  <a:pt x="1745614" y="77215"/>
                </a:lnTo>
                <a:lnTo>
                  <a:pt x="1776730" y="86105"/>
                </a:lnTo>
                <a:lnTo>
                  <a:pt x="1779230" y="77215"/>
                </a:lnTo>
                <a:close/>
              </a:path>
              <a:path w="2465704" h="453389">
                <a:moveTo>
                  <a:pt x="1730883" y="60705"/>
                </a:moveTo>
                <a:lnTo>
                  <a:pt x="1727962" y="73025"/>
                </a:lnTo>
                <a:lnTo>
                  <a:pt x="1745868" y="77342"/>
                </a:lnTo>
                <a:lnTo>
                  <a:pt x="1745614" y="77215"/>
                </a:lnTo>
                <a:lnTo>
                  <a:pt x="1779230" y="77215"/>
                </a:lnTo>
                <a:lnTo>
                  <a:pt x="1780159" y="73913"/>
                </a:lnTo>
                <a:lnTo>
                  <a:pt x="1749043" y="65023"/>
                </a:lnTo>
                <a:lnTo>
                  <a:pt x="1730883" y="60705"/>
                </a:lnTo>
                <a:close/>
              </a:path>
              <a:path w="2465704" h="453389">
                <a:moveTo>
                  <a:pt x="1863958" y="99440"/>
                </a:moveTo>
                <a:lnTo>
                  <a:pt x="1823465" y="99440"/>
                </a:lnTo>
                <a:lnTo>
                  <a:pt x="1861439" y="112013"/>
                </a:lnTo>
                <a:lnTo>
                  <a:pt x="1865503" y="99948"/>
                </a:lnTo>
                <a:lnTo>
                  <a:pt x="1863958" y="99440"/>
                </a:lnTo>
                <a:close/>
              </a:path>
              <a:path w="2465704" h="453389">
                <a:moveTo>
                  <a:pt x="1816862" y="84454"/>
                </a:moveTo>
                <a:lnTo>
                  <a:pt x="1813306" y="96646"/>
                </a:lnTo>
                <a:lnTo>
                  <a:pt x="1823592" y="99567"/>
                </a:lnTo>
                <a:lnTo>
                  <a:pt x="1863958" y="99440"/>
                </a:lnTo>
                <a:lnTo>
                  <a:pt x="1827276" y="87375"/>
                </a:lnTo>
                <a:lnTo>
                  <a:pt x="1816862" y="84454"/>
                </a:lnTo>
                <a:close/>
              </a:path>
              <a:path w="2465704" h="453389">
                <a:moveTo>
                  <a:pt x="1901698" y="111886"/>
                </a:moveTo>
                <a:lnTo>
                  <a:pt x="1897634" y="123951"/>
                </a:lnTo>
                <a:lnTo>
                  <a:pt x="1900428" y="124840"/>
                </a:lnTo>
                <a:lnTo>
                  <a:pt x="1900174" y="124840"/>
                </a:lnTo>
                <a:lnTo>
                  <a:pt x="1944878" y="141858"/>
                </a:lnTo>
                <a:lnTo>
                  <a:pt x="1949450" y="129920"/>
                </a:lnTo>
                <a:lnTo>
                  <a:pt x="1904618" y="112902"/>
                </a:lnTo>
                <a:lnTo>
                  <a:pt x="1901698" y="111886"/>
                </a:lnTo>
                <a:close/>
              </a:path>
              <a:path w="2465704" h="453389">
                <a:moveTo>
                  <a:pt x="1985264" y="143763"/>
                </a:moveTo>
                <a:lnTo>
                  <a:pt x="1980184" y="155447"/>
                </a:lnTo>
                <a:lnTo>
                  <a:pt x="2026919" y="175513"/>
                </a:lnTo>
                <a:lnTo>
                  <a:pt x="2031873" y="163829"/>
                </a:lnTo>
                <a:lnTo>
                  <a:pt x="1985264" y="143763"/>
                </a:lnTo>
                <a:close/>
              </a:path>
              <a:path w="2465704" h="453389">
                <a:moveTo>
                  <a:pt x="2066925" y="179577"/>
                </a:moveTo>
                <a:lnTo>
                  <a:pt x="2061337" y="191007"/>
                </a:lnTo>
                <a:lnTo>
                  <a:pt x="2107057" y="213105"/>
                </a:lnTo>
                <a:lnTo>
                  <a:pt x="2112644" y="201675"/>
                </a:lnTo>
                <a:lnTo>
                  <a:pt x="2066925" y="179577"/>
                </a:lnTo>
                <a:close/>
              </a:path>
              <a:path w="2465704" h="453389">
                <a:moveTo>
                  <a:pt x="2146681" y="219328"/>
                </a:moveTo>
                <a:lnTo>
                  <a:pt x="2140712" y="230504"/>
                </a:lnTo>
                <a:lnTo>
                  <a:pt x="2185289" y="254761"/>
                </a:lnTo>
                <a:lnTo>
                  <a:pt x="2191385" y="243585"/>
                </a:lnTo>
                <a:lnTo>
                  <a:pt x="2146681" y="219328"/>
                </a:lnTo>
                <a:close/>
              </a:path>
              <a:path w="2465704" h="453389">
                <a:moveTo>
                  <a:pt x="2224405" y="263016"/>
                </a:moveTo>
                <a:lnTo>
                  <a:pt x="2217928" y="273938"/>
                </a:lnTo>
                <a:lnTo>
                  <a:pt x="2261362" y="300227"/>
                </a:lnTo>
                <a:lnTo>
                  <a:pt x="2267966" y="289305"/>
                </a:lnTo>
                <a:lnTo>
                  <a:pt x="2224405" y="263016"/>
                </a:lnTo>
                <a:close/>
              </a:path>
              <a:path w="2465704" h="453389">
                <a:moveTo>
                  <a:pt x="2337371" y="345693"/>
                </a:moveTo>
                <a:lnTo>
                  <a:pt x="2329434" y="345693"/>
                </a:lnTo>
                <a:lnTo>
                  <a:pt x="2334514" y="349503"/>
                </a:lnTo>
                <a:lnTo>
                  <a:pt x="2337371" y="345693"/>
                </a:lnTo>
                <a:close/>
              </a:path>
              <a:path w="2465704" h="453389">
                <a:moveTo>
                  <a:pt x="2299842" y="310641"/>
                </a:moveTo>
                <a:lnTo>
                  <a:pt x="2292731" y="321182"/>
                </a:lnTo>
                <a:lnTo>
                  <a:pt x="2329688" y="345947"/>
                </a:lnTo>
                <a:lnTo>
                  <a:pt x="2329434" y="345693"/>
                </a:lnTo>
                <a:lnTo>
                  <a:pt x="2337371" y="345693"/>
                </a:lnTo>
                <a:lnTo>
                  <a:pt x="2342134" y="339343"/>
                </a:lnTo>
                <a:lnTo>
                  <a:pt x="2336800" y="335406"/>
                </a:lnTo>
                <a:lnTo>
                  <a:pt x="2299842" y="310641"/>
                </a:lnTo>
                <a:close/>
              </a:path>
              <a:path w="2465704" h="453389">
                <a:moveTo>
                  <a:pt x="2402619" y="400797"/>
                </a:moveTo>
                <a:lnTo>
                  <a:pt x="2382392" y="425195"/>
                </a:lnTo>
                <a:lnTo>
                  <a:pt x="2465324" y="444500"/>
                </a:lnTo>
                <a:lnTo>
                  <a:pt x="2447062" y="402970"/>
                </a:lnTo>
                <a:lnTo>
                  <a:pt x="2405253" y="402970"/>
                </a:lnTo>
                <a:lnTo>
                  <a:pt x="2402619" y="400797"/>
                </a:lnTo>
                <a:close/>
              </a:path>
              <a:path w="2465704" h="453389">
                <a:moveTo>
                  <a:pt x="2410734" y="391008"/>
                </a:moveTo>
                <a:lnTo>
                  <a:pt x="2402619" y="400797"/>
                </a:lnTo>
                <a:lnTo>
                  <a:pt x="2405253" y="402970"/>
                </a:lnTo>
                <a:lnTo>
                  <a:pt x="2413254" y="393064"/>
                </a:lnTo>
                <a:lnTo>
                  <a:pt x="2410734" y="391008"/>
                </a:lnTo>
                <a:close/>
              </a:path>
              <a:path w="2465704" h="453389">
                <a:moveTo>
                  <a:pt x="2431034" y="366521"/>
                </a:moveTo>
                <a:lnTo>
                  <a:pt x="2410734" y="391008"/>
                </a:lnTo>
                <a:lnTo>
                  <a:pt x="2413254" y="393064"/>
                </a:lnTo>
                <a:lnTo>
                  <a:pt x="2405253" y="402970"/>
                </a:lnTo>
                <a:lnTo>
                  <a:pt x="2447062" y="402970"/>
                </a:lnTo>
                <a:lnTo>
                  <a:pt x="2431034" y="366521"/>
                </a:lnTo>
                <a:close/>
              </a:path>
              <a:path w="2465704" h="453389">
                <a:moveTo>
                  <a:pt x="2408292" y="393953"/>
                </a:moveTo>
                <a:lnTo>
                  <a:pt x="2394331" y="393953"/>
                </a:lnTo>
                <a:lnTo>
                  <a:pt x="2402619" y="400797"/>
                </a:lnTo>
                <a:lnTo>
                  <a:pt x="2408292" y="393953"/>
                </a:lnTo>
                <a:close/>
              </a:path>
              <a:path w="2465704" h="453389">
                <a:moveTo>
                  <a:pt x="2372741" y="362076"/>
                </a:moveTo>
                <a:lnTo>
                  <a:pt x="2365121" y="372236"/>
                </a:lnTo>
                <a:lnTo>
                  <a:pt x="2394585" y="394207"/>
                </a:lnTo>
                <a:lnTo>
                  <a:pt x="2394331" y="393953"/>
                </a:lnTo>
                <a:lnTo>
                  <a:pt x="2408292" y="393953"/>
                </a:lnTo>
                <a:lnTo>
                  <a:pt x="2410734" y="391008"/>
                </a:lnTo>
                <a:lnTo>
                  <a:pt x="2402205" y="384047"/>
                </a:lnTo>
                <a:lnTo>
                  <a:pt x="2372741" y="362076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1" name="object 4">
            <a:extLst>
              <a:ext uri="{FF2B5EF4-FFF2-40B4-BE49-F238E27FC236}">
                <a16:creationId xmlns:a16="http://schemas.microsoft.com/office/drawing/2014/main" id="{443A1BFE-8350-4BD2-8489-1D081D0ACCD3}"/>
              </a:ext>
            </a:extLst>
          </p:cNvPr>
          <p:cNvSpPr/>
          <p:nvPr userDrawn="1"/>
        </p:nvSpPr>
        <p:spPr>
          <a:xfrm>
            <a:off x="4882508" y="5452772"/>
            <a:ext cx="2444782" cy="449543"/>
          </a:xfrm>
          <a:custGeom>
            <a:avLst/>
            <a:gdLst/>
            <a:ahLst/>
            <a:cxnLst/>
            <a:rect l="l" t="t" r="r" b="b"/>
            <a:pathLst>
              <a:path w="2465704" h="453389">
                <a:moveTo>
                  <a:pt x="2449680" y="36067"/>
                </a:moveTo>
                <a:lnTo>
                  <a:pt x="2412619" y="36067"/>
                </a:lnTo>
                <a:lnTo>
                  <a:pt x="2420747" y="45846"/>
                </a:lnTo>
                <a:lnTo>
                  <a:pt x="2411070" y="54005"/>
                </a:lnTo>
                <a:lnTo>
                  <a:pt x="2431542" y="78231"/>
                </a:lnTo>
                <a:lnTo>
                  <a:pt x="2449680" y="36067"/>
                </a:lnTo>
                <a:close/>
              </a:path>
              <a:path w="2465704" h="453389">
                <a:moveTo>
                  <a:pt x="2402904" y="44340"/>
                </a:moveTo>
                <a:lnTo>
                  <a:pt x="2399792" y="46989"/>
                </a:lnTo>
                <a:lnTo>
                  <a:pt x="2372995" y="67437"/>
                </a:lnTo>
                <a:lnTo>
                  <a:pt x="2380742" y="77469"/>
                </a:lnTo>
                <a:lnTo>
                  <a:pt x="2407793" y="56768"/>
                </a:lnTo>
                <a:lnTo>
                  <a:pt x="2411070" y="54005"/>
                </a:lnTo>
                <a:lnTo>
                  <a:pt x="2402904" y="44340"/>
                </a:lnTo>
                <a:close/>
              </a:path>
              <a:path w="2465704" h="453389">
                <a:moveTo>
                  <a:pt x="2412619" y="36067"/>
                </a:moveTo>
                <a:lnTo>
                  <a:pt x="2402904" y="44340"/>
                </a:lnTo>
                <a:lnTo>
                  <a:pt x="2411070" y="54005"/>
                </a:lnTo>
                <a:lnTo>
                  <a:pt x="2420747" y="45846"/>
                </a:lnTo>
                <a:lnTo>
                  <a:pt x="2412619" y="36067"/>
                </a:lnTo>
                <a:close/>
              </a:path>
              <a:path w="2465704" h="453389">
                <a:moveTo>
                  <a:pt x="2400046" y="46735"/>
                </a:moveTo>
                <a:lnTo>
                  <a:pt x="2399714" y="46989"/>
                </a:lnTo>
                <a:lnTo>
                  <a:pt x="2400046" y="46735"/>
                </a:lnTo>
                <a:close/>
              </a:path>
              <a:path w="2465704" h="453389">
                <a:moveTo>
                  <a:pt x="2465197" y="0"/>
                </a:moveTo>
                <a:lnTo>
                  <a:pt x="2382393" y="20065"/>
                </a:lnTo>
                <a:lnTo>
                  <a:pt x="2402904" y="44340"/>
                </a:lnTo>
                <a:lnTo>
                  <a:pt x="2412619" y="36067"/>
                </a:lnTo>
                <a:lnTo>
                  <a:pt x="2449680" y="36067"/>
                </a:lnTo>
                <a:lnTo>
                  <a:pt x="2465197" y="0"/>
                </a:lnTo>
                <a:close/>
              </a:path>
              <a:path w="2465704" h="453389">
                <a:moveTo>
                  <a:pt x="2346276" y="95237"/>
                </a:moveTo>
                <a:lnTo>
                  <a:pt x="2336546" y="95237"/>
                </a:lnTo>
                <a:lnTo>
                  <a:pt x="2301367" y="119506"/>
                </a:lnTo>
                <a:lnTo>
                  <a:pt x="2308605" y="129959"/>
                </a:lnTo>
                <a:lnTo>
                  <a:pt x="2343912" y="105600"/>
                </a:lnTo>
                <a:lnTo>
                  <a:pt x="2350389" y="100596"/>
                </a:lnTo>
                <a:lnTo>
                  <a:pt x="2346276" y="95237"/>
                </a:lnTo>
                <a:close/>
              </a:path>
              <a:path w="2465704" h="453389">
                <a:moveTo>
                  <a:pt x="2342642" y="90500"/>
                </a:moveTo>
                <a:lnTo>
                  <a:pt x="2336322" y="95391"/>
                </a:lnTo>
                <a:lnTo>
                  <a:pt x="2336546" y="95237"/>
                </a:lnTo>
                <a:lnTo>
                  <a:pt x="2346276" y="95237"/>
                </a:lnTo>
                <a:lnTo>
                  <a:pt x="2342642" y="90500"/>
                </a:lnTo>
                <a:close/>
              </a:path>
              <a:path w="2465704" h="453389">
                <a:moveTo>
                  <a:pt x="2270252" y="140969"/>
                </a:moveTo>
                <a:lnTo>
                  <a:pt x="2227072" y="167766"/>
                </a:lnTo>
                <a:lnTo>
                  <a:pt x="2233803" y="178549"/>
                </a:lnTo>
                <a:lnTo>
                  <a:pt x="2276982" y="151752"/>
                </a:lnTo>
                <a:lnTo>
                  <a:pt x="2270252" y="140969"/>
                </a:lnTo>
                <a:close/>
              </a:path>
              <a:path w="2465704" h="453389">
                <a:moveTo>
                  <a:pt x="2194814" y="187337"/>
                </a:moveTo>
                <a:lnTo>
                  <a:pt x="2150364" y="212115"/>
                </a:lnTo>
                <a:lnTo>
                  <a:pt x="2156587" y="223202"/>
                </a:lnTo>
                <a:lnTo>
                  <a:pt x="2200909" y="198424"/>
                </a:lnTo>
                <a:lnTo>
                  <a:pt x="2194814" y="187337"/>
                </a:lnTo>
                <a:close/>
              </a:path>
              <a:path w="2465704" h="453389">
                <a:moveTo>
                  <a:pt x="2117090" y="229831"/>
                </a:moveTo>
                <a:lnTo>
                  <a:pt x="2071624" y="252603"/>
                </a:lnTo>
                <a:lnTo>
                  <a:pt x="2077339" y="263956"/>
                </a:lnTo>
                <a:lnTo>
                  <a:pt x="2122678" y="241185"/>
                </a:lnTo>
                <a:lnTo>
                  <a:pt x="2117090" y="229831"/>
                </a:lnTo>
                <a:close/>
              </a:path>
              <a:path w="2465704" h="453389">
                <a:moveTo>
                  <a:pt x="2037333" y="268452"/>
                </a:moveTo>
                <a:lnTo>
                  <a:pt x="1990852" y="289115"/>
                </a:lnTo>
                <a:lnTo>
                  <a:pt x="1996058" y="300723"/>
                </a:lnTo>
                <a:lnTo>
                  <a:pt x="2042414" y="280047"/>
                </a:lnTo>
                <a:lnTo>
                  <a:pt x="2037333" y="268452"/>
                </a:lnTo>
                <a:close/>
              </a:path>
              <a:path w="2465704" h="453389">
                <a:moveTo>
                  <a:pt x="1948655" y="319531"/>
                </a:moveTo>
                <a:lnTo>
                  <a:pt x="1914144" y="319531"/>
                </a:lnTo>
                <a:lnTo>
                  <a:pt x="1908682" y="321411"/>
                </a:lnTo>
                <a:lnTo>
                  <a:pt x="1912874" y="333413"/>
                </a:lnTo>
                <a:lnTo>
                  <a:pt x="1918334" y="331495"/>
                </a:lnTo>
                <a:lnTo>
                  <a:pt x="1948655" y="319531"/>
                </a:lnTo>
                <a:close/>
              </a:path>
              <a:path w="2465704" h="453389">
                <a:moveTo>
                  <a:pt x="1955800" y="303098"/>
                </a:moveTo>
                <a:lnTo>
                  <a:pt x="1913919" y="319609"/>
                </a:lnTo>
                <a:lnTo>
                  <a:pt x="1914144" y="319531"/>
                </a:lnTo>
                <a:lnTo>
                  <a:pt x="1948655" y="319531"/>
                </a:lnTo>
                <a:lnTo>
                  <a:pt x="1960372" y="314909"/>
                </a:lnTo>
                <a:lnTo>
                  <a:pt x="1955800" y="303098"/>
                </a:lnTo>
                <a:close/>
              </a:path>
              <a:path w="2465704" h="453389">
                <a:moveTo>
                  <a:pt x="1872615" y="333882"/>
                </a:moveTo>
                <a:lnTo>
                  <a:pt x="1837944" y="345922"/>
                </a:lnTo>
                <a:lnTo>
                  <a:pt x="1824735" y="349834"/>
                </a:lnTo>
                <a:lnTo>
                  <a:pt x="1828292" y="362000"/>
                </a:lnTo>
                <a:lnTo>
                  <a:pt x="1841880" y="357962"/>
                </a:lnTo>
                <a:lnTo>
                  <a:pt x="1876695" y="345922"/>
                </a:lnTo>
                <a:lnTo>
                  <a:pt x="1872615" y="333882"/>
                </a:lnTo>
                <a:close/>
              </a:path>
              <a:path w="2465704" h="453389">
                <a:moveTo>
                  <a:pt x="1788159" y="360705"/>
                </a:moveTo>
                <a:lnTo>
                  <a:pt x="1760727" y="368884"/>
                </a:lnTo>
                <a:lnTo>
                  <a:pt x="1739519" y="374256"/>
                </a:lnTo>
                <a:lnTo>
                  <a:pt x="1742694" y="386562"/>
                </a:lnTo>
                <a:lnTo>
                  <a:pt x="1764283" y="381088"/>
                </a:lnTo>
                <a:lnTo>
                  <a:pt x="1791843" y="372872"/>
                </a:lnTo>
                <a:lnTo>
                  <a:pt x="1788159" y="360705"/>
                </a:lnTo>
                <a:close/>
              </a:path>
              <a:path w="2465704" h="453389">
                <a:moveTo>
                  <a:pt x="1703856" y="388658"/>
                </a:moveTo>
                <a:lnTo>
                  <a:pt x="1682853" y="388663"/>
                </a:lnTo>
                <a:lnTo>
                  <a:pt x="1653285" y="394906"/>
                </a:lnTo>
                <a:lnTo>
                  <a:pt x="1655952" y="407327"/>
                </a:lnTo>
                <a:lnTo>
                  <a:pt x="1685544" y="401066"/>
                </a:lnTo>
                <a:lnTo>
                  <a:pt x="1705737" y="395947"/>
                </a:lnTo>
                <a:lnTo>
                  <a:pt x="1703856" y="388658"/>
                </a:lnTo>
                <a:close/>
              </a:path>
              <a:path w="2465704" h="453389">
                <a:moveTo>
                  <a:pt x="1702562" y="383641"/>
                </a:moveTo>
                <a:lnTo>
                  <a:pt x="1682849" y="388663"/>
                </a:lnTo>
                <a:lnTo>
                  <a:pt x="1703856" y="388658"/>
                </a:lnTo>
                <a:lnTo>
                  <a:pt x="1702562" y="383641"/>
                </a:lnTo>
                <a:close/>
              </a:path>
              <a:path w="2465704" h="453389">
                <a:moveTo>
                  <a:pt x="1616630" y="405371"/>
                </a:moveTo>
                <a:lnTo>
                  <a:pt x="1603824" y="405382"/>
                </a:lnTo>
                <a:lnTo>
                  <a:pt x="1566290" y="411670"/>
                </a:lnTo>
                <a:lnTo>
                  <a:pt x="1568450" y="424192"/>
                </a:lnTo>
                <a:lnTo>
                  <a:pt x="1606041" y="417880"/>
                </a:lnTo>
                <a:lnTo>
                  <a:pt x="1618741" y="415213"/>
                </a:lnTo>
                <a:lnTo>
                  <a:pt x="1616630" y="405371"/>
                </a:lnTo>
                <a:close/>
              </a:path>
              <a:path w="2465704" h="453389">
                <a:moveTo>
                  <a:pt x="1616075" y="402780"/>
                </a:moveTo>
                <a:lnTo>
                  <a:pt x="1603813" y="405382"/>
                </a:lnTo>
                <a:lnTo>
                  <a:pt x="1616630" y="405371"/>
                </a:lnTo>
                <a:lnTo>
                  <a:pt x="1616075" y="402780"/>
                </a:lnTo>
                <a:close/>
              </a:path>
              <a:path w="2465704" h="453389">
                <a:moveTo>
                  <a:pt x="1528834" y="418769"/>
                </a:moveTo>
                <a:lnTo>
                  <a:pt x="1524127" y="418769"/>
                </a:lnTo>
                <a:lnTo>
                  <a:pt x="1478661" y="424573"/>
                </a:lnTo>
                <a:lnTo>
                  <a:pt x="1480312" y="437172"/>
                </a:lnTo>
                <a:lnTo>
                  <a:pt x="1525777" y="431355"/>
                </a:lnTo>
                <a:lnTo>
                  <a:pt x="1530858" y="430504"/>
                </a:lnTo>
                <a:lnTo>
                  <a:pt x="1528834" y="418769"/>
                </a:lnTo>
                <a:close/>
              </a:path>
              <a:path w="2465704" h="453389">
                <a:moveTo>
                  <a:pt x="1528699" y="417982"/>
                </a:moveTo>
                <a:lnTo>
                  <a:pt x="1524003" y="418785"/>
                </a:lnTo>
                <a:lnTo>
                  <a:pt x="1528834" y="418769"/>
                </a:lnTo>
                <a:lnTo>
                  <a:pt x="1528699" y="417982"/>
                </a:lnTo>
                <a:close/>
              </a:path>
              <a:path w="2465704" h="453389">
                <a:moveTo>
                  <a:pt x="1441069" y="429259"/>
                </a:moveTo>
                <a:lnTo>
                  <a:pt x="1390523" y="433603"/>
                </a:lnTo>
                <a:lnTo>
                  <a:pt x="1391539" y="446252"/>
                </a:lnTo>
                <a:lnTo>
                  <a:pt x="1442212" y="441909"/>
                </a:lnTo>
                <a:lnTo>
                  <a:pt x="1441069" y="429259"/>
                </a:lnTo>
                <a:close/>
              </a:path>
              <a:path w="2465704" h="453389">
                <a:moveTo>
                  <a:pt x="1352803" y="436448"/>
                </a:moveTo>
                <a:lnTo>
                  <a:pt x="1302003" y="438823"/>
                </a:lnTo>
                <a:lnTo>
                  <a:pt x="1302639" y="451510"/>
                </a:lnTo>
                <a:lnTo>
                  <a:pt x="1353312" y="449135"/>
                </a:lnTo>
                <a:lnTo>
                  <a:pt x="1352803" y="436448"/>
                </a:lnTo>
                <a:close/>
              </a:path>
              <a:path w="2465704" h="453389">
                <a:moveTo>
                  <a:pt x="1264158" y="439889"/>
                </a:moveTo>
                <a:lnTo>
                  <a:pt x="1213358" y="440245"/>
                </a:lnTo>
                <a:lnTo>
                  <a:pt x="1213485" y="452945"/>
                </a:lnTo>
                <a:lnTo>
                  <a:pt x="1264285" y="452589"/>
                </a:lnTo>
                <a:lnTo>
                  <a:pt x="1264158" y="439889"/>
                </a:lnTo>
                <a:close/>
              </a:path>
              <a:path w="2465704" h="453389">
                <a:moveTo>
                  <a:pt x="1124712" y="437857"/>
                </a:moveTo>
                <a:lnTo>
                  <a:pt x="1124331" y="450545"/>
                </a:lnTo>
                <a:lnTo>
                  <a:pt x="1175131" y="452208"/>
                </a:lnTo>
                <a:lnTo>
                  <a:pt x="1175512" y="439521"/>
                </a:lnTo>
                <a:lnTo>
                  <a:pt x="1124712" y="437857"/>
                </a:lnTo>
                <a:close/>
              </a:path>
              <a:path w="2465704" h="453389">
                <a:moveTo>
                  <a:pt x="1036574" y="431482"/>
                </a:moveTo>
                <a:lnTo>
                  <a:pt x="1035176" y="444093"/>
                </a:lnTo>
                <a:lnTo>
                  <a:pt x="1037336" y="444347"/>
                </a:lnTo>
                <a:lnTo>
                  <a:pt x="1086103" y="447941"/>
                </a:lnTo>
                <a:lnTo>
                  <a:pt x="1086993" y="435279"/>
                </a:lnTo>
                <a:lnTo>
                  <a:pt x="1038493" y="431685"/>
                </a:lnTo>
                <a:lnTo>
                  <a:pt x="1036574" y="431482"/>
                </a:lnTo>
                <a:close/>
              </a:path>
              <a:path w="2465704" h="453389">
                <a:moveTo>
                  <a:pt x="1038525" y="431689"/>
                </a:moveTo>
                <a:lnTo>
                  <a:pt x="1038733" y="431711"/>
                </a:lnTo>
                <a:lnTo>
                  <a:pt x="1038525" y="431689"/>
                </a:lnTo>
                <a:close/>
              </a:path>
              <a:path w="2465704" h="453389">
                <a:moveTo>
                  <a:pt x="1038493" y="431685"/>
                </a:moveTo>
                <a:close/>
              </a:path>
              <a:path w="2465704" h="453389">
                <a:moveTo>
                  <a:pt x="948563" y="421131"/>
                </a:moveTo>
                <a:lnTo>
                  <a:pt x="946658" y="433679"/>
                </a:lnTo>
                <a:lnTo>
                  <a:pt x="956310" y="435178"/>
                </a:lnTo>
                <a:lnTo>
                  <a:pt x="997331" y="439813"/>
                </a:lnTo>
                <a:lnTo>
                  <a:pt x="998727" y="427202"/>
                </a:lnTo>
                <a:lnTo>
                  <a:pt x="957841" y="422567"/>
                </a:lnTo>
                <a:lnTo>
                  <a:pt x="948563" y="421131"/>
                </a:lnTo>
                <a:close/>
              </a:path>
              <a:path w="2465704" h="453389">
                <a:moveTo>
                  <a:pt x="957862" y="422570"/>
                </a:moveTo>
                <a:lnTo>
                  <a:pt x="958088" y="422605"/>
                </a:lnTo>
                <a:lnTo>
                  <a:pt x="957862" y="422570"/>
                </a:lnTo>
                <a:close/>
              </a:path>
              <a:path w="2465704" h="453389">
                <a:moveTo>
                  <a:pt x="957841" y="422567"/>
                </a:moveTo>
                <a:close/>
              </a:path>
              <a:path w="2465704" h="453389">
                <a:moveTo>
                  <a:pt x="861060" y="406882"/>
                </a:moveTo>
                <a:lnTo>
                  <a:pt x="858647" y="419341"/>
                </a:lnTo>
                <a:lnTo>
                  <a:pt x="875664" y="422656"/>
                </a:lnTo>
                <a:lnTo>
                  <a:pt x="908938" y="427837"/>
                </a:lnTo>
                <a:lnTo>
                  <a:pt x="910971" y="415289"/>
                </a:lnTo>
                <a:lnTo>
                  <a:pt x="878024" y="410171"/>
                </a:lnTo>
                <a:lnTo>
                  <a:pt x="861060" y="406882"/>
                </a:lnTo>
                <a:close/>
              </a:path>
              <a:path w="2465704" h="453389">
                <a:moveTo>
                  <a:pt x="877697" y="410121"/>
                </a:moveTo>
                <a:lnTo>
                  <a:pt x="877951" y="410171"/>
                </a:lnTo>
                <a:lnTo>
                  <a:pt x="877697" y="410121"/>
                </a:lnTo>
                <a:close/>
              </a:path>
              <a:path w="2465704" h="453389">
                <a:moveTo>
                  <a:pt x="774319" y="388835"/>
                </a:moveTo>
                <a:lnTo>
                  <a:pt x="771398" y="401180"/>
                </a:lnTo>
                <a:lnTo>
                  <a:pt x="795527" y="406984"/>
                </a:lnTo>
                <a:lnTo>
                  <a:pt x="821309" y="412026"/>
                </a:lnTo>
                <a:lnTo>
                  <a:pt x="823722" y="399554"/>
                </a:lnTo>
                <a:lnTo>
                  <a:pt x="798068" y="394550"/>
                </a:lnTo>
                <a:lnTo>
                  <a:pt x="774319" y="388835"/>
                </a:lnTo>
                <a:close/>
              </a:path>
              <a:path w="2465704" h="453389">
                <a:moveTo>
                  <a:pt x="798294" y="394595"/>
                </a:moveTo>
                <a:close/>
              </a:path>
              <a:path w="2465704" h="453389">
                <a:moveTo>
                  <a:pt x="798110" y="394550"/>
                </a:moveTo>
                <a:lnTo>
                  <a:pt x="798294" y="394595"/>
                </a:lnTo>
                <a:lnTo>
                  <a:pt x="798110" y="394550"/>
                </a:lnTo>
                <a:close/>
              </a:path>
              <a:path w="2465704" h="453389">
                <a:moveTo>
                  <a:pt x="688466" y="366864"/>
                </a:moveTo>
                <a:lnTo>
                  <a:pt x="685038" y="379069"/>
                </a:lnTo>
                <a:lnTo>
                  <a:pt x="716279" y="387972"/>
                </a:lnTo>
                <a:lnTo>
                  <a:pt x="734313" y="392290"/>
                </a:lnTo>
                <a:lnTo>
                  <a:pt x="737235" y="379945"/>
                </a:lnTo>
                <a:lnTo>
                  <a:pt x="719454" y="375653"/>
                </a:lnTo>
                <a:lnTo>
                  <a:pt x="688466" y="366864"/>
                </a:lnTo>
                <a:close/>
              </a:path>
              <a:path w="2465704" h="453389">
                <a:moveTo>
                  <a:pt x="719657" y="375702"/>
                </a:moveTo>
                <a:close/>
              </a:path>
              <a:path w="2465704" h="453389">
                <a:moveTo>
                  <a:pt x="719484" y="375653"/>
                </a:moveTo>
                <a:lnTo>
                  <a:pt x="719657" y="375702"/>
                </a:lnTo>
                <a:lnTo>
                  <a:pt x="719484" y="375653"/>
                </a:lnTo>
                <a:close/>
              </a:path>
              <a:path w="2465704" h="453389">
                <a:moveTo>
                  <a:pt x="603758" y="340982"/>
                </a:moveTo>
                <a:lnTo>
                  <a:pt x="599694" y="353034"/>
                </a:lnTo>
                <a:lnTo>
                  <a:pt x="637921" y="365709"/>
                </a:lnTo>
                <a:lnTo>
                  <a:pt x="648335" y="368668"/>
                </a:lnTo>
                <a:lnTo>
                  <a:pt x="651890" y="356450"/>
                </a:lnTo>
                <a:lnTo>
                  <a:pt x="641603" y="353529"/>
                </a:lnTo>
                <a:lnTo>
                  <a:pt x="603758" y="340982"/>
                </a:lnTo>
                <a:close/>
              </a:path>
              <a:path w="2465704" h="453389">
                <a:moveTo>
                  <a:pt x="641771" y="353577"/>
                </a:moveTo>
                <a:close/>
              </a:path>
              <a:path w="2465704" h="453389">
                <a:moveTo>
                  <a:pt x="641628" y="353529"/>
                </a:moveTo>
                <a:lnTo>
                  <a:pt x="641771" y="353577"/>
                </a:lnTo>
                <a:lnTo>
                  <a:pt x="641628" y="353529"/>
                </a:lnTo>
                <a:close/>
              </a:path>
              <a:path w="2465704" h="453389">
                <a:moveTo>
                  <a:pt x="520319" y="311150"/>
                </a:moveTo>
                <a:lnTo>
                  <a:pt x="515747" y="323024"/>
                </a:lnTo>
                <a:lnTo>
                  <a:pt x="560704" y="340093"/>
                </a:lnTo>
                <a:lnTo>
                  <a:pt x="563626" y="341033"/>
                </a:lnTo>
                <a:lnTo>
                  <a:pt x="567563" y="328980"/>
                </a:lnTo>
                <a:lnTo>
                  <a:pt x="564896" y="328079"/>
                </a:lnTo>
                <a:lnTo>
                  <a:pt x="520319" y="311150"/>
                </a:lnTo>
                <a:close/>
              </a:path>
              <a:path w="2465704" h="453389">
                <a:moveTo>
                  <a:pt x="565077" y="328140"/>
                </a:moveTo>
                <a:close/>
              </a:path>
              <a:path w="2465704" h="453389">
                <a:moveTo>
                  <a:pt x="564915" y="328079"/>
                </a:moveTo>
                <a:lnTo>
                  <a:pt x="565077" y="328140"/>
                </a:lnTo>
                <a:lnTo>
                  <a:pt x="564915" y="328079"/>
                </a:lnTo>
                <a:close/>
              </a:path>
              <a:path w="2465704" h="453389">
                <a:moveTo>
                  <a:pt x="438403" y="277444"/>
                </a:moveTo>
                <a:lnTo>
                  <a:pt x="433324" y="289115"/>
                </a:lnTo>
                <a:lnTo>
                  <a:pt x="480060" y="309194"/>
                </a:lnTo>
                <a:lnTo>
                  <a:pt x="485013" y="297522"/>
                </a:lnTo>
                <a:lnTo>
                  <a:pt x="438403" y="277444"/>
                </a:lnTo>
                <a:close/>
              </a:path>
              <a:path w="2465704" h="453389">
                <a:moveTo>
                  <a:pt x="358139" y="239814"/>
                </a:moveTo>
                <a:lnTo>
                  <a:pt x="352678" y="251231"/>
                </a:lnTo>
                <a:lnTo>
                  <a:pt x="398399" y="273405"/>
                </a:lnTo>
                <a:lnTo>
                  <a:pt x="403860" y="261975"/>
                </a:lnTo>
                <a:lnTo>
                  <a:pt x="358139" y="239814"/>
                </a:lnTo>
                <a:close/>
              </a:path>
              <a:path w="2465704" h="453389">
                <a:moveTo>
                  <a:pt x="279908" y="198259"/>
                </a:moveTo>
                <a:lnTo>
                  <a:pt x="273812" y="209422"/>
                </a:lnTo>
                <a:lnTo>
                  <a:pt x="318515" y="233641"/>
                </a:lnTo>
                <a:lnTo>
                  <a:pt x="324612" y="222478"/>
                </a:lnTo>
                <a:lnTo>
                  <a:pt x="279908" y="198259"/>
                </a:lnTo>
                <a:close/>
              </a:path>
              <a:path w="2465704" h="453389">
                <a:moveTo>
                  <a:pt x="203835" y="152806"/>
                </a:moveTo>
                <a:lnTo>
                  <a:pt x="197358" y="163677"/>
                </a:lnTo>
                <a:lnTo>
                  <a:pt x="240791" y="189953"/>
                </a:lnTo>
                <a:lnTo>
                  <a:pt x="247396" y="179082"/>
                </a:lnTo>
                <a:lnTo>
                  <a:pt x="203835" y="152806"/>
                </a:lnTo>
                <a:close/>
              </a:path>
              <a:path w="2465704" h="453389">
                <a:moveTo>
                  <a:pt x="130683" y="103428"/>
                </a:moveTo>
                <a:lnTo>
                  <a:pt x="123062" y="113626"/>
                </a:lnTo>
                <a:lnTo>
                  <a:pt x="128397" y="117551"/>
                </a:lnTo>
                <a:lnTo>
                  <a:pt x="165353" y="142354"/>
                </a:lnTo>
                <a:lnTo>
                  <a:pt x="172465" y="131800"/>
                </a:lnTo>
                <a:lnTo>
                  <a:pt x="135648" y="107086"/>
                </a:lnTo>
                <a:lnTo>
                  <a:pt x="130683" y="103428"/>
                </a:lnTo>
                <a:close/>
              </a:path>
              <a:path w="2465704" h="453389">
                <a:moveTo>
                  <a:pt x="135777" y="107181"/>
                </a:moveTo>
                <a:close/>
              </a:path>
              <a:path w="2465704" h="453389">
                <a:moveTo>
                  <a:pt x="135648" y="107086"/>
                </a:moveTo>
                <a:lnTo>
                  <a:pt x="135777" y="107181"/>
                </a:lnTo>
                <a:lnTo>
                  <a:pt x="135648" y="107086"/>
                </a:lnTo>
                <a:close/>
              </a:path>
              <a:path w="2465704" h="453389">
                <a:moveTo>
                  <a:pt x="62636" y="52229"/>
                </a:moveTo>
                <a:lnTo>
                  <a:pt x="54557" y="61950"/>
                </a:lnTo>
                <a:lnTo>
                  <a:pt x="62991" y="68834"/>
                </a:lnTo>
                <a:lnTo>
                  <a:pt x="92583" y="90881"/>
                </a:lnTo>
                <a:lnTo>
                  <a:pt x="100075" y="80644"/>
                </a:lnTo>
                <a:lnTo>
                  <a:pt x="70909" y="58928"/>
                </a:lnTo>
                <a:lnTo>
                  <a:pt x="62636" y="52229"/>
                </a:lnTo>
                <a:close/>
              </a:path>
              <a:path w="2465704" h="453389">
                <a:moveTo>
                  <a:pt x="0" y="8509"/>
                </a:moveTo>
                <a:lnTo>
                  <a:pt x="34162" y="86487"/>
                </a:lnTo>
                <a:lnTo>
                  <a:pt x="54557" y="61950"/>
                </a:lnTo>
                <a:lnTo>
                  <a:pt x="51943" y="59816"/>
                </a:lnTo>
                <a:lnTo>
                  <a:pt x="59944" y="50037"/>
                </a:lnTo>
                <a:lnTo>
                  <a:pt x="64458" y="50037"/>
                </a:lnTo>
                <a:lnTo>
                  <a:pt x="82931" y="27812"/>
                </a:lnTo>
                <a:lnTo>
                  <a:pt x="0" y="8509"/>
                </a:lnTo>
                <a:close/>
              </a:path>
              <a:path w="2465704" h="453389">
                <a:moveTo>
                  <a:pt x="59944" y="50037"/>
                </a:moveTo>
                <a:lnTo>
                  <a:pt x="51943" y="59816"/>
                </a:lnTo>
                <a:lnTo>
                  <a:pt x="54557" y="61950"/>
                </a:lnTo>
                <a:lnTo>
                  <a:pt x="62636" y="52229"/>
                </a:lnTo>
                <a:lnTo>
                  <a:pt x="59944" y="50037"/>
                </a:lnTo>
                <a:close/>
              </a:path>
              <a:path w="2465704" h="453389">
                <a:moveTo>
                  <a:pt x="70738" y="58800"/>
                </a:moveTo>
                <a:lnTo>
                  <a:pt x="70865" y="58928"/>
                </a:lnTo>
                <a:lnTo>
                  <a:pt x="70738" y="58800"/>
                </a:lnTo>
                <a:close/>
              </a:path>
              <a:path w="2465704" h="453389">
                <a:moveTo>
                  <a:pt x="64458" y="50037"/>
                </a:moveTo>
                <a:lnTo>
                  <a:pt x="59944" y="50037"/>
                </a:lnTo>
                <a:lnTo>
                  <a:pt x="62636" y="52229"/>
                </a:lnTo>
                <a:lnTo>
                  <a:pt x="64458" y="5003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94CBED19-7120-4747-A08E-F3B340E452C4}"/>
              </a:ext>
            </a:extLst>
          </p:cNvPr>
          <p:cNvSpPr/>
          <p:nvPr userDrawn="1"/>
        </p:nvSpPr>
        <p:spPr>
          <a:xfrm>
            <a:off x="6524158" y="2910149"/>
            <a:ext cx="1357443" cy="1357442"/>
          </a:xfrm>
          <a:custGeom>
            <a:avLst/>
            <a:gdLst/>
            <a:ahLst/>
            <a:cxnLst/>
            <a:rect l="l" t="t" r="r" b="b"/>
            <a:pathLst>
              <a:path w="1369059" h="1369060">
                <a:moveTo>
                  <a:pt x="684529" y="0"/>
                </a:moveTo>
                <a:lnTo>
                  <a:pt x="635640" y="1718"/>
                </a:lnTo>
                <a:lnTo>
                  <a:pt x="587679" y="6797"/>
                </a:lnTo>
                <a:lnTo>
                  <a:pt x="540763" y="15120"/>
                </a:lnTo>
                <a:lnTo>
                  <a:pt x="495005" y="26571"/>
                </a:lnTo>
                <a:lnTo>
                  <a:pt x="450524" y="41035"/>
                </a:lnTo>
                <a:lnTo>
                  <a:pt x="407434" y="58395"/>
                </a:lnTo>
                <a:lnTo>
                  <a:pt x="365851" y="78537"/>
                </a:lnTo>
                <a:lnTo>
                  <a:pt x="325891" y="101344"/>
                </a:lnTo>
                <a:lnTo>
                  <a:pt x="287670" y="126700"/>
                </a:lnTo>
                <a:lnTo>
                  <a:pt x="251304" y="154490"/>
                </a:lnTo>
                <a:lnTo>
                  <a:pt x="216908" y="184598"/>
                </a:lnTo>
                <a:lnTo>
                  <a:pt x="184598" y="216908"/>
                </a:lnTo>
                <a:lnTo>
                  <a:pt x="154490" y="251304"/>
                </a:lnTo>
                <a:lnTo>
                  <a:pt x="126700" y="287670"/>
                </a:lnTo>
                <a:lnTo>
                  <a:pt x="101344" y="325891"/>
                </a:lnTo>
                <a:lnTo>
                  <a:pt x="78537" y="365851"/>
                </a:lnTo>
                <a:lnTo>
                  <a:pt x="58395" y="407434"/>
                </a:lnTo>
                <a:lnTo>
                  <a:pt x="41035" y="450524"/>
                </a:lnTo>
                <a:lnTo>
                  <a:pt x="26571" y="495005"/>
                </a:lnTo>
                <a:lnTo>
                  <a:pt x="15120" y="540763"/>
                </a:lnTo>
                <a:lnTo>
                  <a:pt x="6797" y="587679"/>
                </a:lnTo>
                <a:lnTo>
                  <a:pt x="1718" y="635640"/>
                </a:lnTo>
                <a:lnTo>
                  <a:pt x="0" y="684530"/>
                </a:lnTo>
                <a:lnTo>
                  <a:pt x="1718" y="733419"/>
                </a:lnTo>
                <a:lnTo>
                  <a:pt x="6797" y="781380"/>
                </a:lnTo>
                <a:lnTo>
                  <a:pt x="15120" y="828296"/>
                </a:lnTo>
                <a:lnTo>
                  <a:pt x="26571" y="874054"/>
                </a:lnTo>
                <a:lnTo>
                  <a:pt x="41035" y="918535"/>
                </a:lnTo>
                <a:lnTo>
                  <a:pt x="58395" y="961625"/>
                </a:lnTo>
                <a:lnTo>
                  <a:pt x="78537" y="1003208"/>
                </a:lnTo>
                <a:lnTo>
                  <a:pt x="101344" y="1043168"/>
                </a:lnTo>
                <a:lnTo>
                  <a:pt x="126700" y="1081389"/>
                </a:lnTo>
                <a:lnTo>
                  <a:pt x="154490" y="1117755"/>
                </a:lnTo>
                <a:lnTo>
                  <a:pt x="184598" y="1152151"/>
                </a:lnTo>
                <a:lnTo>
                  <a:pt x="216908" y="1184461"/>
                </a:lnTo>
                <a:lnTo>
                  <a:pt x="251304" y="1214569"/>
                </a:lnTo>
                <a:lnTo>
                  <a:pt x="287670" y="1242359"/>
                </a:lnTo>
                <a:lnTo>
                  <a:pt x="325891" y="1267715"/>
                </a:lnTo>
                <a:lnTo>
                  <a:pt x="365851" y="1290522"/>
                </a:lnTo>
                <a:lnTo>
                  <a:pt x="407434" y="1310664"/>
                </a:lnTo>
                <a:lnTo>
                  <a:pt x="450524" y="1328024"/>
                </a:lnTo>
                <a:lnTo>
                  <a:pt x="495005" y="1342488"/>
                </a:lnTo>
                <a:lnTo>
                  <a:pt x="540763" y="1353939"/>
                </a:lnTo>
                <a:lnTo>
                  <a:pt x="587679" y="1362262"/>
                </a:lnTo>
                <a:lnTo>
                  <a:pt x="635640" y="1367341"/>
                </a:lnTo>
                <a:lnTo>
                  <a:pt x="684529" y="1369060"/>
                </a:lnTo>
                <a:lnTo>
                  <a:pt x="733419" y="1367341"/>
                </a:lnTo>
                <a:lnTo>
                  <a:pt x="781380" y="1362262"/>
                </a:lnTo>
                <a:lnTo>
                  <a:pt x="828296" y="1353939"/>
                </a:lnTo>
                <a:lnTo>
                  <a:pt x="874054" y="1342488"/>
                </a:lnTo>
                <a:lnTo>
                  <a:pt x="918535" y="1328024"/>
                </a:lnTo>
                <a:lnTo>
                  <a:pt x="961625" y="1310664"/>
                </a:lnTo>
                <a:lnTo>
                  <a:pt x="1003208" y="1290522"/>
                </a:lnTo>
                <a:lnTo>
                  <a:pt x="1043168" y="1267715"/>
                </a:lnTo>
                <a:lnTo>
                  <a:pt x="1081389" y="1242359"/>
                </a:lnTo>
                <a:lnTo>
                  <a:pt x="1117755" y="1214569"/>
                </a:lnTo>
                <a:lnTo>
                  <a:pt x="1152151" y="1184461"/>
                </a:lnTo>
                <a:lnTo>
                  <a:pt x="1184461" y="1152151"/>
                </a:lnTo>
                <a:lnTo>
                  <a:pt x="1214569" y="1117755"/>
                </a:lnTo>
                <a:lnTo>
                  <a:pt x="1242359" y="1081389"/>
                </a:lnTo>
                <a:lnTo>
                  <a:pt x="1267715" y="1043168"/>
                </a:lnTo>
                <a:lnTo>
                  <a:pt x="1290522" y="1003208"/>
                </a:lnTo>
                <a:lnTo>
                  <a:pt x="1310664" y="961625"/>
                </a:lnTo>
                <a:lnTo>
                  <a:pt x="1328024" y="918535"/>
                </a:lnTo>
                <a:lnTo>
                  <a:pt x="1342488" y="874054"/>
                </a:lnTo>
                <a:lnTo>
                  <a:pt x="1353939" y="828296"/>
                </a:lnTo>
                <a:lnTo>
                  <a:pt x="1362262" y="781380"/>
                </a:lnTo>
                <a:lnTo>
                  <a:pt x="1367341" y="733419"/>
                </a:lnTo>
                <a:lnTo>
                  <a:pt x="1369059" y="684530"/>
                </a:lnTo>
                <a:lnTo>
                  <a:pt x="1367341" y="635640"/>
                </a:lnTo>
                <a:lnTo>
                  <a:pt x="1362262" y="587679"/>
                </a:lnTo>
                <a:lnTo>
                  <a:pt x="1353939" y="540763"/>
                </a:lnTo>
                <a:lnTo>
                  <a:pt x="1342488" y="495005"/>
                </a:lnTo>
                <a:lnTo>
                  <a:pt x="1328024" y="450524"/>
                </a:lnTo>
                <a:lnTo>
                  <a:pt x="1310664" y="407434"/>
                </a:lnTo>
                <a:lnTo>
                  <a:pt x="1290522" y="365851"/>
                </a:lnTo>
                <a:lnTo>
                  <a:pt x="1267715" y="325891"/>
                </a:lnTo>
                <a:lnTo>
                  <a:pt x="1242359" y="287670"/>
                </a:lnTo>
                <a:lnTo>
                  <a:pt x="1214569" y="251304"/>
                </a:lnTo>
                <a:lnTo>
                  <a:pt x="1184461" y="216908"/>
                </a:lnTo>
                <a:lnTo>
                  <a:pt x="1152151" y="184598"/>
                </a:lnTo>
                <a:lnTo>
                  <a:pt x="1117755" y="154490"/>
                </a:lnTo>
                <a:lnTo>
                  <a:pt x="1081389" y="126700"/>
                </a:lnTo>
                <a:lnTo>
                  <a:pt x="1043168" y="101344"/>
                </a:lnTo>
                <a:lnTo>
                  <a:pt x="1003208" y="78537"/>
                </a:lnTo>
                <a:lnTo>
                  <a:pt x="961625" y="58395"/>
                </a:lnTo>
                <a:lnTo>
                  <a:pt x="918535" y="41035"/>
                </a:lnTo>
                <a:lnTo>
                  <a:pt x="874054" y="26571"/>
                </a:lnTo>
                <a:lnTo>
                  <a:pt x="828296" y="15120"/>
                </a:lnTo>
                <a:lnTo>
                  <a:pt x="781380" y="6797"/>
                </a:lnTo>
                <a:lnTo>
                  <a:pt x="733419" y="1718"/>
                </a:lnTo>
                <a:lnTo>
                  <a:pt x="684529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object 9">
            <a:extLst>
              <a:ext uri="{FF2B5EF4-FFF2-40B4-BE49-F238E27FC236}">
                <a16:creationId xmlns:a16="http://schemas.microsoft.com/office/drawing/2014/main" id="{8B3C0DAC-256F-4560-8EB0-48D27E9D047E}"/>
              </a:ext>
            </a:extLst>
          </p:cNvPr>
          <p:cNvSpPr/>
          <p:nvPr userDrawn="1"/>
        </p:nvSpPr>
        <p:spPr>
          <a:xfrm>
            <a:off x="7254508" y="1945585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80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89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79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79" y="427989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4" name="object 12">
            <a:extLst>
              <a:ext uri="{FF2B5EF4-FFF2-40B4-BE49-F238E27FC236}">
                <a16:creationId xmlns:a16="http://schemas.microsoft.com/office/drawing/2014/main" id="{D20B6F34-445D-4E34-A982-72E4577E6D11}"/>
              </a:ext>
            </a:extLst>
          </p:cNvPr>
          <p:cNvSpPr/>
          <p:nvPr userDrawn="1"/>
        </p:nvSpPr>
        <p:spPr>
          <a:xfrm>
            <a:off x="8103224" y="3159476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79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89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80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79" y="427989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3" name="object 16">
            <a:extLst>
              <a:ext uri="{FF2B5EF4-FFF2-40B4-BE49-F238E27FC236}">
                <a16:creationId xmlns:a16="http://schemas.microsoft.com/office/drawing/2014/main" id="{112D87F1-DD04-4B45-8E63-8278392D4AD4}"/>
              </a:ext>
            </a:extLst>
          </p:cNvPr>
          <p:cNvSpPr/>
          <p:nvPr userDrawn="1"/>
        </p:nvSpPr>
        <p:spPr>
          <a:xfrm>
            <a:off x="7254508" y="4373366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79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90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80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79" y="427990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4" name="object 23">
            <a:extLst>
              <a:ext uri="{FF2B5EF4-FFF2-40B4-BE49-F238E27FC236}">
                <a16:creationId xmlns:a16="http://schemas.microsoft.com/office/drawing/2014/main" id="{B529016F-38C3-4C3A-89EF-AD66EA8CE4E4}"/>
              </a:ext>
            </a:extLst>
          </p:cNvPr>
          <p:cNvSpPr/>
          <p:nvPr userDrawn="1"/>
        </p:nvSpPr>
        <p:spPr>
          <a:xfrm>
            <a:off x="4136669" y="1945585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80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89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79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80" y="427989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8" name="object 26">
            <a:extLst>
              <a:ext uri="{FF2B5EF4-FFF2-40B4-BE49-F238E27FC236}">
                <a16:creationId xmlns:a16="http://schemas.microsoft.com/office/drawing/2014/main" id="{7DB44389-D33F-4EAB-A07B-16859AB4C6F9}"/>
              </a:ext>
            </a:extLst>
          </p:cNvPr>
          <p:cNvSpPr/>
          <p:nvPr userDrawn="1"/>
        </p:nvSpPr>
        <p:spPr>
          <a:xfrm>
            <a:off x="3245140" y="3159476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79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89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80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80" y="427989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9" name="object 29">
            <a:extLst>
              <a:ext uri="{FF2B5EF4-FFF2-40B4-BE49-F238E27FC236}">
                <a16:creationId xmlns:a16="http://schemas.microsoft.com/office/drawing/2014/main" id="{D0096FDE-40CA-47F7-A85A-2BB4D2FAAE6E}"/>
              </a:ext>
            </a:extLst>
          </p:cNvPr>
          <p:cNvSpPr/>
          <p:nvPr userDrawn="1"/>
        </p:nvSpPr>
        <p:spPr>
          <a:xfrm>
            <a:off x="4136669" y="4373366"/>
            <a:ext cx="848717" cy="848717"/>
          </a:xfrm>
          <a:custGeom>
            <a:avLst/>
            <a:gdLst/>
            <a:ahLst/>
            <a:cxnLst/>
            <a:rect l="l" t="t" r="r" b="b"/>
            <a:pathLst>
              <a:path w="855979" h="855979">
                <a:moveTo>
                  <a:pt x="427990" y="0"/>
                </a:moveTo>
                <a:lnTo>
                  <a:pt x="381360" y="2511"/>
                </a:lnTo>
                <a:lnTo>
                  <a:pt x="336183" y="9872"/>
                </a:lnTo>
                <a:lnTo>
                  <a:pt x="292721" y="21821"/>
                </a:lnTo>
                <a:lnTo>
                  <a:pt x="251235" y="38097"/>
                </a:lnTo>
                <a:lnTo>
                  <a:pt x="211986" y="58438"/>
                </a:lnTo>
                <a:lnTo>
                  <a:pt x="175235" y="82584"/>
                </a:lnTo>
                <a:lnTo>
                  <a:pt x="141244" y="110273"/>
                </a:lnTo>
                <a:lnTo>
                  <a:pt x="110273" y="141244"/>
                </a:lnTo>
                <a:lnTo>
                  <a:pt x="82584" y="175235"/>
                </a:lnTo>
                <a:lnTo>
                  <a:pt x="58438" y="211986"/>
                </a:lnTo>
                <a:lnTo>
                  <a:pt x="38097" y="251235"/>
                </a:lnTo>
                <a:lnTo>
                  <a:pt x="21821" y="292721"/>
                </a:lnTo>
                <a:lnTo>
                  <a:pt x="9872" y="336183"/>
                </a:lnTo>
                <a:lnTo>
                  <a:pt x="2511" y="381360"/>
                </a:lnTo>
                <a:lnTo>
                  <a:pt x="0" y="427990"/>
                </a:lnTo>
                <a:lnTo>
                  <a:pt x="2511" y="474619"/>
                </a:lnTo>
                <a:lnTo>
                  <a:pt x="9872" y="519796"/>
                </a:lnTo>
                <a:lnTo>
                  <a:pt x="21821" y="563258"/>
                </a:lnTo>
                <a:lnTo>
                  <a:pt x="38097" y="604744"/>
                </a:lnTo>
                <a:lnTo>
                  <a:pt x="58438" y="643993"/>
                </a:lnTo>
                <a:lnTo>
                  <a:pt x="82584" y="680744"/>
                </a:lnTo>
                <a:lnTo>
                  <a:pt x="110273" y="714735"/>
                </a:lnTo>
                <a:lnTo>
                  <a:pt x="141244" y="745706"/>
                </a:lnTo>
                <a:lnTo>
                  <a:pt x="175235" y="773395"/>
                </a:lnTo>
                <a:lnTo>
                  <a:pt x="211986" y="797541"/>
                </a:lnTo>
                <a:lnTo>
                  <a:pt x="251235" y="817882"/>
                </a:lnTo>
                <a:lnTo>
                  <a:pt x="292721" y="834158"/>
                </a:lnTo>
                <a:lnTo>
                  <a:pt x="336183" y="846107"/>
                </a:lnTo>
                <a:lnTo>
                  <a:pt x="381360" y="853468"/>
                </a:lnTo>
                <a:lnTo>
                  <a:pt x="427990" y="855980"/>
                </a:lnTo>
                <a:lnTo>
                  <a:pt x="474619" y="853468"/>
                </a:lnTo>
                <a:lnTo>
                  <a:pt x="519796" y="846107"/>
                </a:lnTo>
                <a:lnTo>
                  <a:pt x="563258" y="834158"/>
                </a:lnTo>
                <a:lnTo>
                  <a:pt x="604744" y="817882"/>
                </a:lnTo>
                <a:lnTo>
                  <a:pt x="643993" y="797541"/>
                </a:lnTo>
                <a:lnTo>
                  <a:pt x="680744" y="773395"/>
                </a:lnTo>
                <a:lnTo>
                  <a:pt x="714735" y="745706"/>
                </a:lnTo>
                <a:lnTo>
                  <a:pt x="745706" y="714735"/>
                </a:lnTo>
                <a:lnTo>
                  <a:pt x="773395" y="680744"/>
                </a:lnTo>
                <a:lnTo>
                  <a:pt x="797541" y="643993"/>
                </a:lnTo>
                <a:lnTo>
                  <a:pt x="817882" y="604744"/>
                </a:lnTo>
                <a:lnTo>
                  <a:pt x="834158" y="563258"/>
                </a:lnTo>
                <a:lnTo>
                  <a:pt x="846107" y="519796"/>
                </a:lnTo>
                <a:lnTo>
                  <a:pt x="853468" y="474619"/>
                </a:lnTo>
                <a:lnTo>
                  <a:pt x="855980" y="427990"/>
                </a:lnTo>
                <a:lnTo>
                  <a:pt x="853468" y="381360"/>
                </a:lnTo>
                <a:lnTo>
                  <a:pt x="846107" y="336183"/>
                </a:lnTo>
                <a:lnTo>
                  <a:pt x="834158" y="292721"/>
                </a:lnTo>
                <a:lnTo>
                  <a:pt x="817882" y="251235"/>
                </a:lnTo>
                <a:lnTo>
                  <a:pt x="797541" y="211986"/>
                </a:lnTo>
                <a:lnTo>
                  <a:pt x="773395" y="175235"/>
                </a:lnTo>
                <a:lnTo>
                  <a:pt x="745706" y="141244"/>
                </a:lnTo>
                <a:lnTo>
                  <a:pt x="714735" y="110273"/>
                </a:lnTo>
                <a:lnTo>
                  <a:pt x="680744" y="82584"/>
                </a:lnTo>
                <a:lnTo>
                  <a:pt x="643993" y="58438"/>
                </a:lnTo>
                <a:lnTo>
                  <a:pt x="604744" y="38097"/>
                </a:lnTo>
                <a:lnTo>
                  <a:pt x="563258" y="21821"/>
                </a:lnTo>
                <a:lnTo>
                  <a:pt x="519796" y="9872"/>
                </a:lnTo>
                <a:lnTo>
                  <a:pt x="474619" y="2511"/>
                </a:lnTo>
                <a:lnTo>
                  <a:pt x="42799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0" name="object 32">
            <a:extLst>
              <a:ext uri="{FF2B5EF4-FFF2-40B4-BE49-F238E27FC236}">
                <a16:creationId xmlns:a16="http://schemas.microsoft.com/office/drawing/2014/main" id="{ACE38DED-565E-4194-9D93-045A6853CF11}"/>
              </a:ext>
            </a:extLst>
          </p:cNvPr>
          <p:cNvSpPr/>
          <p:nvPr userDrawn="1"/>
        </p:nvSpPr>
        <p:spPr>
          <a:xfrm>
            <a:off x="4315480" y="2910149"/>
            <a:ext cx="1357443" cy="1357442"/>
          </a:xfrm>
          <a:custGeom>
            <a:avLst/>
            <a:gdLst/>
            <a:ahLst/>
            <a:cxnLst/>
            <a:rect l="l" t="t" r="r" b="b"/>
            <a:pathLst>
              <a:path w="1369060" h="1369060">
                <a:moveTo>
                  <a:pt x="684529" y="0"/>
                </a:moveTo>
                <a:lnTo>
                  <a:pt x="635640" y="1718"/>
                </a:lnTo>
                <a:lnTo>
                  <a:pt x="587679" y="6797"/>
                </a:lnTo>
                <a:lnTo>
                  <a:pt x="540763" y="15120"/>
                </a:lnTo>
                <a:lnTo>
                  <a:pt x="495005" y="26571"/>
                </a:lnTo>
                <a:lnTo>
                  <a:pt x="450524" y="41035"/>
                </a:lnTo>
                <a:lnTo>
                  <a:pt x="407434" y="58395"/>
                </a:lnTo>
                <a:lnTo>
                  <a:pt x="365851" y="78537"/>
                </a:lnTo>
                <a:lnTo>
                  <a:pt x="325891" y="101344"/>
                </a:lnTo>
                <a:lnTo>
                  <a:pt x="287670" y="126700"/>
                </a:lnTo>
                <a:lnTo>
                  <a:pt x="251304" y="154490"/>
                </a:lnTo>
                <a:lnTo>
                  <a:pt x="216908" y="184598"/>
                </a:lnTo>
                <a:lnTo>
                  <a:pt x="184598" y="216908"/>
                </a:lnTo>
                <a:lnTo>
                  <a:pt x="154490" y="251304"/>
                </a:lnTo>
                <a:lnTo>
                  <a:pt x="126700" y="287670"/>
                </a:lnTo>
                <a:lnTo>
                  <a:pt x="101344" y="325891"/>
                </a:lnTo>
                <a:lnTo>
                  <a:pt x="78537" y="365851"/>
                </a:lnTo>
                <a:lnTo>
                  <a:pt x="58395" y="407434"/>
                </a:lnTo>
                <a:lnTo>
                  <a:pt x="41035" y="450524"/>
                </a:lnTo>
                <a:lnTo>
                  <a:pt x="26571" y="495005"/>
                </a:lnTo>
                <a:lnTo>
                  <a:pt x="15120" y="540763"/>
                </a:lnTo>
                <a:lnTo>
                  <a:pt x="6797" y="587679"/>
                </a:lnTo>
                <a:lnTo>
                  <a:pt x="1718" y="635640"/>
                </a:lnTo>
                <a:lnTo>
                  <a:pt x="0" y="684530"/>
                </a:lnTo>
                <a:lnTo>
                  <a:pt x="1718" y="733419"/>
                </a:lnTo>
                <a:lnTo>
                  <a:pt x="6797" y="781380"/>
                </a:lnTo>
                <a:lnTo>
                  <a:pt x="15120" y="828296"/>
                </a:lnTo>
                <a:lnTo>
                  <a:pt x="26571" y="874054"/>
                </a:lnTo>
                <a:lnTo>
                  <a:pt x="41035" y="918535"/>
                </a:lnTo>
                <a:lnTo>
                  <a:pt x="58395" y="961625"/>
                </a:lnTo>
                <a:lnTo>
                  <a:pt x="78537" y="1003208"/>
                </a:lnTo>
                <a:lnTo>
                  <a:pt x="101344" y="1043168"/>
                </a:lnTo>
                <a:lnTo>
                  <a:pt x="126700" y="1081389"/>
                </a:lnTo>
                <a:lnTo>
                  <a:pt x="154490" y="1117755"/>
                </a:lnTo>
                <a:lnTo>
                  <a:pt x="184598" y="1152151"/>
                </a:lnTo>
                <a:lnTo>
                  <a:pt x="216908" y="1184461"/>
                </a:lnTo>
                <a:lnTo>
                  <a:pt x="251304" y="1214569"/>
                </a:lnTo>
                <a:lnTo>
                  <a:pt x="287670" y="1242359"/>
                </a:lnTo>
                <a:lnTo>
                  <a:pt x="325891" y="1267715"/>
                </a:lnTo>
                <a:lnTo>
                  <a:pt x="365851" y="1290522"/>
                </a:lnTo>
                <a:lnTo>
                  <a:pt x="407434" y="1310664"/>
                </a:lnTo>
                <a:lnTo>
                  <a:pt x="450524" y="1328024"/>
                </a:lnTo>
                <a:lnTo>
                  <a:pt x="495005" y="1342488"/>
                </a:lnTo>
                <a:lnTo>
                  <a:pt x="540763" y="1353939"/>
                </a:lnTo>
                <a:lnTo>
                  <a:pt x="587679" y="1362262"/>
                </a:lnTo>
                <a:lnTo>
                  <a:pt x="635640" y="1367341"/>
                </a:lnTo>
                <a:lnTo>
                  <a:pt x="684529" y="1369060"/>
                </a:lnTo>
                <a:lnTo>
                  <a:pt x="733419" y="1367341"/>
                </a:lnTo>
                <a:lnTo>
                  <a:pt x="781380" y="1362262"/>
                </a:lnTo>
                <a:lnTo>
                  <a:pt x="828296" y="1353939"/>
                </a:lnTo>
                <a:lnTo>
                  <a:pt x="874054" y="1342488"/>
                </a:lnTo>
                <a:lnTo>
                  <a:pt x="918535" y="1328024"/>
                </a:lnTo>
                <a:lnTo>
                  <a:pt x="961625" y="1310664"/>
                </a:lnTo>
                <a:lnTo>
                  <a:pt x="1003208" y="1290522"/>
                </a:lnTo>
                <a:lnTo>
                  <a:pt x="1043168" y="1267715"/>
                </a:lnTo>
                <a:lnTo>
                  <a:pt x="1081389" y="1242359"/>
                </a:lnTo>
                <a:lnTo>
                  <a:pt x="1117755" y="1214569"/>
                </a:lnTo>
                <a:lnTo>
                  <a:pt x="1152151" y="1184461"/>
                </a:lnTo>
                <a:lnTo>
                  <a:pt x="1184461" y="1152151"/>
                </a:lnTo>
                <a:lnTo>
                  <a:pt x="1214569" y="1117755"/>
                </a:lnTo>
                <a:lnTo>
                  <a:pt x="1242359" y="1081389"/>
                </a:lnTo>
                <a:lnTo>
                  <a:pt x="1267715" y="1043168"/>
                </a:lnTo>
                <a:lnTo>
                  <a:pt x="1290522" y="1003208"/>
                </a:lnTo>
                <a:lnTo>
                  <a:pt x="1310664" y="961625"/>
                </a:lnTo>
                <a:lnTo>
                  <a:pt x="1328024" y="918535"/>
                </a:lnTo>
                <a:lnTo>
                  <a:pt x="1342488" y="874054"/>
                </a:lnTo>
                <a:lnTo>
                  <a:pt x="1353939" y="828296"/>
                </a:lnTo>
                <a:lnTo>
                  <a:pt x="1362262" y="781380"/>
                </a:lnTo>
                <a:lnTo>
                  <a:pt x="1367341" y="733419"/>
                </a:lnTo>
                <a:lnTo>
                  <a:pt x="1369059" y="684530"/>
                </a:lnTo>
                <a:lnTo>
                  <a:pt x="1367341" y="635640"/>
                </a:lnTo>
                <a:lnTo>
                  <a:pt x="1362262" y="587679"/>
                </a:lnTo>
                <a:lnTo>
                  <a:pt x="1353939" y="540763"/>
                </a:lnTo>
                <a:lnTo>
                  <a:pt x="1342488" y="495005"/>
                </a:lnTo>
                <a:lnTo>
                  <a:pt x="1328024" y="450524"/>
                </a:lnTo>
                <a:lnTo>
                  <a:pt x="1310664" y="407434"/>
                </a:lnTo>
                <a:lnTo>
                  <a:pt x="1290522" y="365851"/>
                </a:lnTo>
                <a:lnTo>
                  <a:pt x="1267715" y="325891"/>
                </a:lnTo>
                <a:lnTo>
                  <a:pt x="1242359" y="287670"/>
                </a:lnTo>
                <a:lnTo>
                  <a:pt x="1214569" y="251304"/>
                </a:lnTo>
                <a:lnTo>
                  <a:pt x="1184461" y="216908"/>
                </a:lnTo>
                <a:lnTo>
                  <a:pt x="1152151" y="184598"/>
                </a:lnTo>
                <a:lnTo>
                  <a:pt x="1117755" y="154490"/>
                </a:lnTo>
                <a:lnTo>
                  <a:pt x="1081389" y="126700"/>
                </a:lnTo>
                <a:lnTo>
                  <a:pt x="1043168" y="101344"/>
                </a:lnTo>
                <a:lnTo>
                  <a:pt x="1003208" y="78537"/>
                </a:lnTo>
                <a:lnTo>
                  <a:pt x="961625" y="58395"/>
                </a:lnTo>
                <a:lnTo>
                  <a:pt x="918535" y="41035"/>
                </a:lnTo>
                <a:lnTo>
                  <a:pt x="874054" y="26571"/>
                </a:lnTo>
                <a:lnTo>
                  <a:pt x="828296" y="15120"/>
                </a:lnTo>
                <a:lnTo>
                  <a:pt x="781380" y="6797"/>
                </a:lnTo>
                <a:lnTo>
                  <a:pt x="733419" y="1718"/>
                </a:lnTo>
                <a:lnTo>
                  <a:pt x="684529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E65A2B6F-6574-49E7-AFD3-43FAD95B5FA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93700" y="3253364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4" name="Text Placeholder 17">
            <a:extLst>
              <a:ext uri="{FF2B5EF4-FFF2-40B4-BE49-F238E27FC236}">
                <a16:creationId xmlns:a16="http://schemas.microsoft.com/office/drawing/2014/main" id="{892B3D56-785E-4B13-B2DD-66ED6846693D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393700" y="3529911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F18ACECB-E65B-4857-AEAE-52031D8437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71202" y="4439163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0AB102D1-2BE0-4777-83EE-00868CC12C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71202" y="4715710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F7DC7E27-1395-4BAE-A27E-9ACE4BB5AE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09997" y="1952422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8D8FFDA4-EB0B-4E5C-9692-161B890976F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09997" y="2228969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DD69E3B8-38EC-4FA0-8F82-A0483DCC76E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26871" y="3253364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A5817194-367A-4864-862A-F4E2049EA8F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26871" y="3529911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946B859C-510B-4AD0-8102-8AE9DC0456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09997" y="4439163"/>
            <a:ext cx="274129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5A388E24-C0BA-4FA1-972A-8FCC4D7D9D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09997" y="4715710"/>
            <a:ext cx="2741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a sample  using indexes.</a:t>
            </a:r>
          </a:p>
        </p:txBody>
      </p:sp>
      <p:pic>
        <p:nvPicPr>
          <p:cNvPr id="30" name="Picture 29" descr="darkest-green-horz.png">
            <a:extLst>
              <a:ext uri="{FF2B5EF4-FFF2-40B4-BE49-F238E27FC236}">
                <a16:creationId xmlns:a16="http://schemas.microsoft.com/office/drawing/2014/main" id="{AAFE3BB4-BC7F-4355-9A73-FC1EA3EFB1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740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low angle view of a skyscraper&#10;&#10;Description automatically generated with low confidence">
            <a:extLst>
              <a:ext uri="{FF2B5EF4-FFF2-40B4-BE49-F238E27FC236}">
                <a16:creationId xmlns:a16="http://schemas.microsoft.com/office/drawing/2014/main" id="{A311BC96-5136-4C39-B0A5-B6CC10DCD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8155" r="24163"/>
          <a:stretch/>
        </p:blipFill>
        <p:spPr>
          <a:xfrm>
            <a:off x="2" y="2"/>
            <a:ext cx="5004843" cy="6857999"/>
          </a:xfrm>
          <a:custGeom>
            <a:avLst/>
            <a:gdLst>
              <a:gd name="connsiteX0" fmla="*/ 0 w 5004843"/>
              <a:gd name="connsiteY0" fmla="*/ 0 h 6857999"/>
              <a:gd name="connsiteX1" fmla="*/ 1460216 w 5004843"/>
              <a:gd name="connsiteY1" fmla="*/ 0 h 6857999"/>
              <a:gd name="connsiteX2" fmla="*/ 5004843 w 5004843"/>
              <a:gd name="connsiteY2" fmla="*/ 2578909 h 6857999"/>
              <a:gd name="connsiteX3" fmla="*/ 3616416 w 5004843"/>
              <a:gd name="connsiteY3" fmla="*/ 6857999 h 6857999"/>
              <a:gd name="connsiteX4" fmla="*/ 0 w 500484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843" h="6857999">
                <a:moveTo>
                  <a:pt x="0" y="0"/>
                </a:moveTo>
                <a:lnTo>
                  <a:pt x="1460216" y="0"/>
                </a:lnTo>
                <a:lnTo>
                  <a:pt x="5004843" y="2578909"/>
                </a:lnTo>
                <a:lnTo>
                  <a:pt x="3616416" y="6857999"/>
                </a:lnTo>
                <a:lnTo>
                  <a:pt x="0" y="6857999"/>
                </a:lnTo>
                <a:close/>
              </a:path>
            </a:pathLst>
          </a:cu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196543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752042" y="2608210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52042" y="3390416"/>
            <a:ext cx="5358342" cy="335989"/>
          </a:xfrm>
          <a:ln>
            <a:noFill/>
          </a:ln>
        </p:spPr>
        <p:txBody>
          <a:bodyPr wrap="square" lIns="0" tIns="0" rIns="0" bIns="0" anchor="t" anchorCtr="0">
            <a:normAutofit/>
          </a:bodyPr>
          <a:lstStyle>
            <a:lvl1pPr marL="0" indent="0" algn="l">
              <a:buNone/>
              <a:defRPr sz="2400" cap="none" baseline="0">
                <a:solidFill>
                  <a:schemeClr val="bg1"/>
                </a:solidFill>
                <a:latin typeface="+mn-lt"/>
                <a:ea typeface="Calibri" charset="0"/>
                <a:cs typeface="Calibri" charset="0"/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 / dat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5752042" y="2551006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7995E52-0D03-438A-82DD-B5A349560C1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52042" y="5903458"/>
            <a:ext cx="1905000" cy="657225"/>
          </a:xfrm>
          <a:prstGeom prst="rect">
            <a:avLst/>
          </a:pr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633A5C4-E899-484A-B509-C96758B61FED}"/>
              </a:ext>
            </a:extLst>
          </p:cNvPr>
          <p:cNvSpPr/>
          <p:nvPr userDrawn="1"/>
        </p:nvSpPr>
        <p:spPr>
          <a:xfrm>
            <a:off x="-1749432" y="1556590"/>
            <a:ext cx="4603750" cy="6308390"/>
          </a:xfrm>
          <a:custGeom>
            <a:avLst/>
            <a:gdLst>
              <a:gd name="connsiteX0" fmla="*/ 0 w 5004843"/>
              <a:gd name="connsiteY0" fmla="*/ 0 h 6857999"/>
              <a:gd name="connsiteX1" fmla="*/ 1460216 w 5004843"/>
              <a:gd name="connsiteY1" fmla="*/ 0 h 6857999"/>
              <a:gd name="connsiteX2" fmla="*/ 5004843 w 5004843"/>
              <a:gd name="connsiteY2" fmla="*/ 2578909 h 6857999"/>
              <a:gd name="connsiteX3" fmla="*/ 3616416 w 5004843"/>
              <a:gd name="connsiteY3" fmla="*/ 6857999 h 6857999"/>
              <a:gd name="connsiteX4" fmla="*/ 0 w 500484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843" h="6857999">
                <a:moveTo>
                  <a:pt x="0" y="0"/>
                </a:moveTo>
                <a:lnTo>
                  <a:pt x="1460216" y="0"/>
                </a:lnTo>
                <a:lnTo>
                  <a:pt x="5004843" y="2578909"/>
                </a:lnTo>
                <a:lnTo>
                  <a:pt x="361641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2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B53A635-FD51-4178-B020-90ECF31085CC}"/>
              </a:ext>
            </a:extLst>
          </p:cNvPr>
          <p:cNvCxnSpPr>
            <a:cxnSpLocks/>
          </p:cNvCxnSpPr>
          <p:nvPr userDrawn="1"/>
        </p:nvCxnSpPr>
        <p:spPr>
          <a:xfrm>
            <a:off x="856343" y="3176"/>
            <a:ext cx="3706132" cy="2701924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C9ED9C6-1648-43B7-B09A-9F794CC7960B}"/>
              </a:ext>
            </a:extLst>
          </p:cNvPr>
          <p:cNvCxnSpPr>
            <a:cxnSpLocks/>
          </p:cNvCxnSpPr>
          <p:nvPr userDrawn="1"/>
        </p:nvCxnSpPr>
        <p:spPr>
          <a:xfrm flipH="1">
            <a:off x="3257550" y="2714171"/>
            <a:ext cx="1303564" cy="4143829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932858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Step by Step Infograph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52B5C57F-AB56-4989-9F9D-A72F37426E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32292" y="4916421"/>
            <a:ext cx="376363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234C3C1C-690A-453E-8BDB-13E5812F1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32292" y="5223745"/>
            <a:ext cx="376363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46" name="object 16">
            <a:extLst>
              <a:ext uri="{FF2B5EF4-FFF2-40B4-BE49-F238E27FC236}">
                <a16:creationId xmlns:a16="http://schemas.microsoft.com/office/drawing/2014/main" id="{8334B67E-E56A-487D-97A2-A165930C5236}"/>
              </a:ext>
            </a:extLst>
          </p:cNvPr>
          <p:cNvSpPr/>
          <p:nvPr userDrawn="1"/>
        </p:nvSpPr>
        <p:spPr>
          <a:xfrm>
            <a:off x="10137139" y="1420793"/>
            <a:ext cx="1206500" cy="1206500"/>
          </a:xfrm>
          <a:custGeom>
            <a:avLst/>
            <a:gdLst/>
            <a:ahLst/>
            <a:cxnLst/>
            <a:rect l="l" t="t" r="r" b="b"/>
            <a:pathLst>
              <a:path w="1206500" h="1206500">
                <a:moveTo>
                  <a:pt x="170179" y="604520"/>
                </a:moveTo>
                <a:lnTo>
                  <a:pt x="172728" y="557189"/>
                </a:lnTo>
                <a:lnTo>
                  <a:pt x="180196" y="511336"/>
                </a:lnTo>
                <a:lnTo>
                  <a:pt x="192320" y="467225"/>
                </a:lnTo>
                <a:lnTo>
                  <a:pt x="208834" y="425121"/>
                </a:lnTo>
                <a:lnTo>
                  <a:pt x="229474" y="385289"/>
                </a:lnTo>
                <a:lnTo>
                  <a:pt x="253975" y="347994"/>
                </a:lnTo>
                <a:lnTo>
                  <a:pt x="282072" y="313500"/>
                </a:lnTo>
                <a:lnTo>
                  <a:pt x="313500" y="282072"/>
                </a:lnTo>
                <a:lnTo>
                  <a:pt x="347994" y="253975"/>
                </a:lnTo>
                <a:lnTo>
                  <a:pt x="385289" y="229474"/>
                </a:lnTo>
                <a:lnTo>
                  <a:pt x="425121" y="208834"/>
                </a:lnTo>
                <a:lnTo>
                  <a:pt x="467225" y="192320"/>
                </a:lnTo>
                <a:lnTo>
                  <a:pt x="511336" y="180196"/>
                </a:lnTo>
                <a:lnTo>
                  <a:pt x="557189" y="172728"/>
                </a:lnTo>
                <a:lnTo>
                  <a:pt x="604519" y="170180"/>
                </a:lnTo>
                <a:lnTo>
                  <a:pt x="651850" y="172728"/>
                </a:lnTo>
                <a:lnTo>
                  <a:pt x="697703" y="180196"/>
                </a:lnTo>
                <a:lnTo>
                  <a:pt x="741814" y="192320"/>
                </a:lnTo>
                <a:lnTo>
                  <a:pt x="783918" y="208834"/>
                </a:lnTo>
                <a:lnTo>
                  <a:pt x="823750" y="229474"/>
                </a:lnTo>
                <a:lnTo>
                  <a:pt x="861045" y="253975"/>
                </a:lnTo>
                <a:lnTo>
                  <a:pt x="895539" y="282072"/>
                </a:lnTo>
                <a:lnTo>
                  <a:pt x="926967" y="313500"/>
                </a:lnTo>
                <a:lnTo>
                  <a:pt x="955064" y="347994"/>
                </a:lnTo>
                <a:lnTo>
                  <a:pt x="979565" y="385289"/>
                </a:lnTo>
                <a:lnTo>
                  <a:pt x="1000205" y="425121"/>
                </a:lnTo>
                <a:lnTo>
                  <a:pt x="1016719" y="467225"/>
                </a:lnTo>
                <a:lnTo>
                  <a:pt x="1028843" y="511336"/>
                </a:lnTo>
                <a:lnTo>
                  <a:pt x="1036311" y="557189"/>
                </a:lnTo>
                <a:lnTo>
                  <a:pt x="1038859" y="604520"/>
                </a:lnTo>
                <a:lnTo>
                  <a:pt x="1036311" y="651850"/>
                </a:lnTo>
                <a:lnTo>
                  <a:pt x="1028843" y="697703"/>
                </a:lnTo>
                <a:lnTo>
                  <a:pt x="1016719" y="741814"/>
                </a:lnTo>
                <a:lnTo>
                  <a:pt x="1000205" y="783918"/>
                </a:lnTo>
                <a:lnTo>
                  <a:pt x="979565" y="823750"/>
                </a:lnTo>
                <a:lnTo>
                  <a:pt x="955064" y="861045"/>
                </a:lnTo>
                <a:lnTo>
                  <a:pt x="926967" y="895539"/>
                </a:lnTo>
                <a:lnTo>
                  <a:pt x="895539" y="926967"/>
                </a:lnTo>
                <a:lnTo>
                  <a:pt x="861045" y="955064"/>
                </a:lnTo>
                <a:lnTo>
                  <a:pt x="823750" y="979565"/>
                </a:lnTo>
                <a:lnTo>
                  <a:pt x="783918" y="1000205"/>
                </a:lnTo>
                <a:lnTo>
                  <a:pt x="741814" y="1016719"/>
                </a:lnTo>
                <a:lnTo>
                  <a:pt x="697703" y="1028843"/>
                </a:lnTo>
                <a:lnTo>
                  <a:pt x="651850" y="1036311"/>
                </a:lnTo>
                <a:lnTo>
                  <a:pt x="604519" y="1038860"/>
                </a:lnTo>
                <a:lnTo>
                  <a:pt x="557189" y="1036311"/>
                </a:lnTo>
                <a:lnTo>
                  <a:pt x="511336" y="1028843"/>
                </a:lnTo>
                <a:lnTo>
                  <a:pt x="467225" y="1016719"/>
                </a:lnTo>
                <a:lnTo>
                  <a:pt x="425121" y="1000205"/>
                </a:lnTo>
                <a:lnTo>
                  <a:pt x="385289" y="979565"/>
                </a:lnTo>
                <a:lnTo>
                  <a:pt x="347994" y="955064"/>
                </a:lnTo>
                <a:lnTo>
                  <a:pt x="313500" y="926967"/>
                </a:lnTo>
                <a:lnTo>
                  <a:pt x="282072" y="895539"/>
                </a:lnTo>
                <a:lnTo>
                  <a:pt x="253975" y="861045"/>
                </a:lnTo>
                <a:lnTo>
                  <a:pt x="229474" y="823750"/>
                </a:lnTo>
                <a:lnTo>
                  <a:pt x="208834" y="783918"/>
                </a:lnTo>
                <a:lnTo>
                  <a:pt x="192320" y="741814"/>
                </a:lnTo>
                <a:lnTo>
                  <a:pt x="180196" y="697703"/>
                </a:lnTo>
                <a:lnTo>
                  <a:pt x="172728" y="651850"/>
                </a:lnTo>
                <a:lnTo>
                  <a:pt x="170179" y="604520"/>
                </a:lnTo>
                <a:close/>
              </a:path>
              <a:path w="1206500" h="1206500">
                <a:moveTo>
                  <a:pt x="345439" y="604520"/>
                </a:moveTo>
                <a:lnTo>
                  <a:pt x="349594" y="557938"/>
                </a:lnTo>
                <a:lnTo>
                  <a:pt x="361571" y="514101"/>
                </a:lnTo>
                <a:lnTo>
                  <a:pt x="380642" y="473738"/>
                </a:lnTo>
                <a:lnTo>
                  <a:pt x="406079" y="437580"/>
                </a:lnTo>
                <a:lnTo>
                  <a:pt x="437153" y="406358"/>
                </a:lnTo>
                <a:lnTo>
                  <a:pt x="473136" y="380802"/>
                </a:lnTo>
                <a:lnTo>
                  <a:pt x="513298" y="361643"/>
                </a:lnTo>
                <a:lnTo>
                  <a:pt x="556912" y="349612"/>
                </a:lnTo>
                <a:lnTo>
                  <a:pt x="603250" y="345439"/>
                </a:lnTo>
                <a:lnTo>
                  <a:pt x="649587" y="349612"/>
                </a:lnTo>
                <a:lnTo>
                  <a:pt x="693201" y="361643"/>
                </a:lnTo>
                <a:lnTo>
                  <a:pt x="733363" y="380802"/>
                </a:lnTo>
                <a:lnTo>
                  <a:pt x="769346" y="406358"/>
                </a:lnTo>
                <a:lnTo>
                  <a:pt x="800420" y="437580"/>
                </a:lnTo>
                <a:lnTo>
                  <a:pt x="825857" y="473738"/>
                </a:lnTo>
                <a:lnTo>
                  <a:pt x="844928" y="514101"/>
                </a:lnTo>
                <a:lnTo>
                  <a:pt x="856905" y="557938"/>
                </a:lnTo>
                <a:lnTo>
                  <a:pt x="861059" y="604520"/>
                </a:lnTo>
                <a:lnTo>
                  <a:pt x="856905" y="651101"/>
                </a:lnTo>
                <a:lnTo>
                  <a:pt x="844928" y="694938"/>
                </a:lnTo>
                <a:lnTo>
                  <a:pt x="825857" y="735301"/>
                </a:lnTo>
                <a:lnTo>
                  <a:pt x="800420" y="771459"/>
                </a:lnTo>
                <a:lnTo>
                  <a:pt x="769346" y="802681"/>
                </a:lnTo>
                <a:lnTo>
                  <a:pt x="733363" y="828237"/>
                </a:lnTo>
                <a:lnTo>
                  <a:pt x="693201" y="847396"/>
                </a:lnTo>
                <a:lnTo>
                  <a:pt x="649587" y="859427"/>
                </a:lnTo>
                <a:lnTo>
                  <a:pt x="603250" y="863600"/>
                </a:lnTo>
                <a:lnTo>
                  <a:pt x="556912" y="859427"/>
                </a:lnTo>
                <a:lnTo>
                  <a:pt x="513298" y="847396"/>
                </a:lnTo>
                <a:lnTo>
                  <a:pt x="473136" y="828237"/>
                </a:lnTo>
                <a:lnTo>
                  <a:pt x="437153" y="802681"/>
                </a:lnTo>
                <a:lnTo>
                  <a:pt x="406079" y="771459"/>
                </a:lnTo>
                <a:lnTo>
                  <a:pt x="380642" y="735301"/>
                </a:lnTo>
                <a:lnTo>
                  <a:pt x="361571" y="694938"/>
                </a:lnTo>
                <a:lnTo>
                  <a:pt x="349594" y="651101"/>
                </a:lnTo>
                <a:lnTo>
                  <a:pt x="345439" y="604520"/>
                </a:lnTo>
                <a:close/>
              </a:path>
              <a:path w="1206500" h="1206500">
                <a:moveTo>
                  <a:pt x="0" y="603250"/>
                </a:moveTo>
                <a:lnTo>
                  <a:pt x="1815" y="556112"/>
                </a:lnTo>
                <a:lnTo>
                  <a:pt x="7171" y="509965"/>
                </a:lnTo>
                <a:lnTo>
                  <a:pt x="15934" y="464944"/>
                </a:lnTo>
                <a:lnTo>
                  <a:pt x="27970" y="421182"/>
                </a:lnTo>
                <a:lnTo>
                  <a:pt x="43144" y="378815"/>
                </a:lnTo>
                <a:lnTo>
                  <a:pt x="61322" y="337975"/>
                </a:lnTo>
                <a:lnTo>
                  <a:pt x="82371" y="298798"/>
                </a:lnTo>
                <a:lnTo>
                  <a:pt x="106155" y="261417"/>
                </a:lnTo>
                <a:lnTo>
                  <a:pt x="132541" y="225966"/>
                </a:lnTo>
                <a:lnTo>
                  <a:pt x="161394" y="192581"/>
                </a:lnTo>
                <a:lnTo>
                  <a:pt x="192581" y="161394"/>
                </a:lnTo>
                <a:lnTo>
                  <a:pt x="225966" y="132541"/>
                </a:lnTo>
                <a:lnTo>
                  <a:pt x="261417" y="106155"/>
                </a:lnTo>
                <a:lnTo>
                  <a:pt x="298798" y="82371"/>
                </a:lnTo>
                <a:lnTo>
                  <a:pt x="337975" y="61322"/>
                </a:lnTo>
                <a:lnTo>
                  <a:pt x="378815" y="43144"/>
                </a:lnTo>
                <a:lnTo>
                  <a:pt x="421182" y="27970"/>
                </a:lnTo>
                <a:lnTo>
                  <a:pt x="464944" y="15934"/>
                </a:lnTo>
                <a:lnTo>
                  <a:pt x="509965" y="7171"/>
                </a:lnTo>
                <a:lnTo>
                  <a:pt x="556112" y="1815"/>
                </a:lnTo>
                <a:lnTo>
                  <a:pt x="603250" y="0"/>
                </a:lnTo>
                <a:lnTo>
                  <a:pt x="650387" y="1815"/>
                </a:lnTo>
                <a:lnTo>
                  <a:pt x="696534" y="7171"/>
                </a:lnTo>
                <a:lnTo>
                  <a:pt x="741555" y="15934"/>
                </a:lnTo>
                <a:lnTo>
                  <a:pt x="785317" y="27970"/>
                </a:lnTo>
                <a:lnTo>
                  <a:pt x="827684" y="43144"/>
                </a:lnTo>
                <a:lnTo>
                  <a:pt x="868524" y="61322"/>
                </a:lnTo>
                <a:lnTo>
                  <a:pt x="907701" y="82371"/>
                </a:lnTo>
                <a:lnTo>
                  <a:pt x="945082" y="106155"/>
                </a:lnTo>
                <a:lnTo>
                  <a:pt x="980533" y="132541"/>
                </a:lnTo>
                <a:lnTo>
                  <a:pt x="1013918" y="161394"/>
                </a:lnTo>
                <a:lnTo>
                  <a:pt x="1045105" y="192581"/>
                </a:lnTo>
                <a:lnTo>
                  <a:pt x="1073958" y="225966"/>
                </a:lnTo>
                <a:lnTo>
                  <a:pt x="1100344" y="261417"/>
                </a:lnTo>
                <a:lnTo>
                  <a:pt x="1124128" y="298798"/>
                </a:lnTo>
                <a:lnTo>
                  <a:pt x="1145177" y="337975"/>
                </a:lnTo>
                <a:lnTo>
                  <a:pt x="1163355" y="378815"/>
                </a:lnTo>
                <a:lnTo>
                  <a:pt x="1178529" y="421182"/>
                </a:lnTo>
                <a:lnTo>
                  <a:pt x="1190565" y="464944"/>
                </a:lnTo>
                <a:lnTo>
                  <a:pt x="1199328" y="509965"/>
                </a:lnTo>
                <a:lnTo>
                  <a:pt x="1204684" y="556112"/>
                </a:lnTo>
                <a:lnTo>
                  <a:pt x="1206500" y="603250"/>
                </a:lnTo>
                <a:lnTo>
                  <a:pt x="1204684" y="650387"/>
                </a:lnTo>
                <a:lnTo>
                  <a:pt x="1199328" y="696534"/>
                </a:lnTo>
                <a:lnTo>
                  <a:pt x="1190565" y="741555"/>
                </a:lnTo>
                <a:lnTo>
                  <a:pt x="1178529" y="785317"/>
                </a:lnTo>
                <a:lnTo>
                  <a:pt x="1163355" y="827684"/>
                </a:lnTo>
                <a:lnTo>
                  <a:pt x="1145177" y="868524"/>
                </a:lnTo>
                <a:lnTo>
                  <a:pt x="1124128" y="907701"/>
                </a:lnTo>
                <a:lnTo>
                  <a:pt x="1100344" y="945082"/>
                </a:lnTo>
                <a:lnTo>
                  <a:pt x="1073958" y="980533"/>
                </a:lnTo>
                <a:lnTo>
                  <a:pt x="1045105" y="1013918"/>
                </a:lnTo>
                <a:lnTo>
                  <a:pt x="1013918" y="1045105"/>
                </a:lnTo>
                <a:lnTo>
                  <a:pt x="980533" y="1073958"/>
                </a:lnTo>
                <a:lnTo>
                  <a:pt x="945082" y="1100344"/>
                </a:lnTo>
                <a:lnTo>
                  <a:pt x="907701" y="1124128"/>
                </a:lnTo>
                <a:lnTo>
                  <a:pt x="868524" y="1145177"/>
                </a:lnTo>
                <a:lnTo>
                  <a:pt x="827684" y="1163355"/>
                </a:lnTo>
                <a:lnTo>
                  <a:pt x="785317" y="1178529"/>
                </a:lnTo>
                <a:lnTo>
                  <a:pt x="741555" y="1190565"/>
                </a:lnTo>
                <a:lnTo>
                  <a:pt x="696534" y="1199328"/>
                </a:lnTo>
                <a:lnTo>
                  <a:pt x="650387" y="1204684"/>
                </a:lnTo>
                <a:lnTo>
                  <a:pt x="603250" y="1206500"/>
                </a:lnTo>
                <a:lnTo>
                  <a:pt x="556112" y="1204684"/>
                </a:lnTo>
                <a:lnTo>
                  <a:pt x="509965" y="1199328"/>
                </a:lnTo>
                <a:lnTo>
                  <a:pt x="464944" y="1190565"/>
                </a:lnTo>
                <a:lnTo>
                  <a:pt x="421182" y="1178529"/>
                </a:lnTo>
                <a:lnTo>
                  <a:pt x="378815" y="1163355"/>
                </a:lnTo>
                <a:lnTo>
                  <a:pt x="337975" y="1145177"/>
                </a:lnTo>
                <a:lnTo>
                  <a:pt x="298798" y="1124128"/>
                </a:lnTo>
                <a:lnTo>
                  <a:pt x="261417" y="1100344"/>
                </a:lnTo>
                <a:lnTo>
                  <a:pt x="225966" y="1073958"/>
                </a:lnTo>
                <a:lnTo>
                  <a:pt x="192581" y="1045105"/>
                </a:lnTo>
                <a:lnTo>
                  <a:pt x="161394" y="1013918"/>
                </a:lnTo>
                <a:lnTo>
                  <a:pt x="132541" y="980533"/>
                </a:lnTo>
                <a:lnTo>
                  <a:pt x="106155" y="945082"/>
                </a:lnTo>
                <a:lnTo>
                  <a:pt x="82371" y="907701"/>
                </a:lnTo>
                <a:lnTo>
                  <a:pt x="61322" y="868524"/>
                </a:lnTo>
                <a:lnTo>
                  <a:pt x="43144" y="827684"/>
                </a:lnTo>
                <a:lnTo>
                  <a:pt x="27970" y="785317"/>
                </a:lnTo>
                <a:lnTo>
                  <a:pt x="15934" y="741555"/>
                </a:lnTo>
                <a:lnTo>
                  <a:pt x="7171" y="696534"/>
                </a:lnTo>
                <a:lnTo>
                  <a:pt x="1815" y="650387"/>
                </a:lnTo>
                <a:lnTo>
                  <a:pt x="0" y="603250"/>
                </a:lnTo>
                <a:close/>
              </a:path>
            </a:pathLst>
          </a:custGeom>
          <a:ln w="12700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56F7CDAC-45C3-4DC9-A7F7-C96F7DCC37AA}"/>
              </a:ext>
            </a:extLst>
          </p:cNvPr>
          <p:cNvSpPr/>
          <p:nvPr userDrawn="1"/>
        </p:nvSpPr>
        <p:spPr>
          <a:xfrm>
            <a:off x="9741694" y="1990725"/>
            <a:ext cx="1443037" cy="1767120"/>
          </a:xfrm>
          <a:custGeom>
            <a:avLst/>
            <a:gdLst>
              <a:gd name="connsiteX0" fmla="*/ 973931 w 1443037"/>
              <a:gd name="connsiteY0" fmla="*/ 0 h 1767120"/>
              <a:gd name="connsiteX1" fmla="*/ 1443037 w 1443037"/>
              <a:gd name="connsiteY1" fmla="*/ 857250 h 1767120"/>
              <a:gd name="connsiteX2" fmla="*/ 1099261 w 1443037"/>
              <a:gd name="connsiteY2" fmla="*/ 858001 h 1767120"/>
              <a:gd name="connsiteX3" fmla="*/ 803595 w 1443037"/>
              <a:gd name="connsiteY3" fmla="*/ 1767120 h 1767120"/>
              <a:gd name="connsiteX4" fmla="*/ 65929 w 1443037"/>
              <a:gd name="connsiteY4" fmla="*/ 1767120 h 1767120"/>
              <a:gd name="connsiteX5" fmla="*/ 361071 w 1443037"/>
              <a:gd name="connsiteY5" fmla="*/ 859612 h 1767120"/>
              <a:gd name="connsiteX6" fmla="*/ 352425 w 1443037"/>
              <a:gd name="connsiteY6" fmla="*/ 859631 h 1767120"/>
              <a:gd name="connsiteX7" fmla="*/ 0 w 1443037"/>
              <a:gd name="connsiteY7" fmla="*/ 859631 h 1767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43037" h="1767120">
                <a:moveTo>
                  <a:pt x="973931" y="0"/>
                </a:moveTo>
                <a:lnTo>
                  <a:pt x="1443037" y="857250"/>
                </a:lnTo>
                <a:lnTo>
                  <a:pt x="1099261" y="858001"/>
                </a:lnTo>
                <a:lnTo>
                  <a:pt x="803595" y="1767120"/>
                </a:lnTo>
                <a:lnTo>
                  <a:pt x="65929" y="1767120"/>
                </a:lnTo>
                <a:lnTo>
                  <a:pt x="361071" y="859612"/>
                </a:lnTo>
                <a:lnTo>
                  <a:pt x="352425" y="859631"/>
                </a:lnTo>
                <a:lnTo>
                  <a:pt x="0" y="8596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object 18">
            <a:extLst>
              <a:ext uri="{FF2B5EF4-FFF2-40B4-BE49-F238E27FC236}">
                <a16:creationId xmlns:a16="http://schemas.microsoft.com/office/drawing/2014/main" id="{1ACF7CBB-BDB5-4167-8B29-D2C2A9AAD2CA}"/>
              </a:ext>
            </a:extLst>
          </p:cNvPr>
          <p:cNvSpPr/>
          <p:nvPr userDrawn="1"/>
        </p:nvSpPr>
        <p:spPr>
          <a:xfrm>
            <a:off x="9123680" y="3617893"/>
            <a:ext cx="1424940" cy="149860"/>
          </a:xfrm>
          <a:custGeom>
            <a:avLst/>
            <a:gdLst/>
            <a:ahLst/>
            <a:cxnLst/>
            <a:rect l="l" t="t" r="r" b="b"/>
            <a:pathLst>
              <a:path w="1424940" h="149860">
                <a:moveTo>
                  <a:pt x="0" y="0"/>
                </a:moveTo>
                <a:lnTo>
                  <a:pt x="459359" y="149860"/>
                </a:lnTo>
                <a:lnTo>
                  <a:pt x="959507" y="144323"/>
                </a:lnTo>
                <a:lnTo>
                  <a:pt x="1213586" y="142710"/>
                </a:lnTo>
                <a:lnTo>
                  <a:pt x="1424940" y="142367"/>
                </a:lnTo>
                <a:lnTo>
                  <a:pt x="769366" y="8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7" name="Parallelogram 66">
            <a:extLst>
              <a:ext uri="{FF2B5EF4-FFF2-40B4-BE49-F238E27FC236}">
                <a16:creationId xmlns:a16="http://schemas.microsoft.com/office/drawing/2014/main" id="{AC43EF6B-3BF1-4E71-B6B8-267533DD3D06}"/>
              </a:ext>
            </a:extLst>
          </p:cNvPr>
          <p:cNvSpPr/>
          <p:nvPr userDrawn="1"/>
        </p:nvSpPr>
        <p:spPr>
          <a:xfrm>
            <a:off x="8765064" y="3605181"/>
            <a:ext cx="1122194" cy="1194066"/>
          </a:xfrm>
          <a:prstGeom prst="parallelogram">
            <a:avLst>
              <a:gd name="adj" fmla="val 3153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5" name="object 20">
            <a:extLst>
              <a:ext uri="{FF2B5EF4-FFF2-40B4-BE49-F238E27FC236}">
                <a16:creationId xmlns:a16="http://schemas.microsoft.com/office/drawing/2014/main" id="{A909A77E-9E47-48B9-BFE7-788D5BF10390}"/>
              </a:ext>
            </a:extLst>
          </p:cNvPr>
          <p:cNvSpPr/>
          <p:nvPr userDrawn="1"/>
        </p:nvSpPr>
        <p:spPr>
          <a:xfrm>
            <a:off x="8188960" y="4641514"/>
            <a:ext cx="1320800" cy="157480"/>
          </a:xfrm>
          <a:custGeom>
            <a:avLst/>
            <a:gdLst/>
            <a:ahLst/>
            <a:cxnLst/>
            <a:rect l="l" t="t" r="r" b="b"/>
            <a:pathLst>
              <a:path w="1320800" h="157479">
                <a:moveTo>
                  <a:pt x="0" y="0"/>
                </a:moveTo>
                <a:lnTo>
                  <a:pt x="418592" y="148335"/>
                </a:lnTo>
                <a:lnTo>
                  <a:pt x="1320800" y="157479"/>
                </a:lnTo>
                <a:lnTo>
                  <a:pt x="783463" y="91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C37B6A6-AFB2-46FD-9383-11018218E31F}"/>
              </a:ext>
            </a:extLst>
          </p:cNvPr>
          <p:cNvSpPr/>
          <p:nvPr userDrawn="1"/>
        </p:nvSpPr>
        <p:spPr>
          <a:xfrm>
            <a:off x="7835899" y="4636434"/>
            <a:ext cx="1128026" cy="1194054"/>
          </a:xfrm>
          <a:prstGeom prst="parallelogram">
            <a:avLst>
              <a:gd name="adj" fmla="val 3310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0" name="object 5">
            <a:extLst>
              <a:ext uri="{FF2B5EF4-FFF2-40B4-BE49-F238E27FC236}">
                <a16:creationId xmlns:a16="http://schemas.microsoft.com/office/drawing/2014/main" id="{F7E6B28D-005A-47DA-8799-C6FA6F90AD5C}"/>
              </a:ext>
            </a:extLst>
          </p:cNvPr>
          <p:cNvSpPr/>
          <p:nvPr userDrawn="1"/>
        </p:nvSpPr>
        <p:spPr>
          <a:xfrm>
            <a:off x="3483609" y="3138088"/>
            <a:ext cx="5150485" cy="76200"/>
          </a:xfrm>
          <a:custGeom>
            <a:avLst/>
            <a:gdLst/>
            <a:ahLst/>
            <a:cxnLst/>
            <a:rect l="l" t="t" r="r" b="b"/>
            <a:pathLst>
              <a:path w="5150484" h="76200">
                <a:moveTo>
                  <a:pt x="5148836" y="31750"/>
                </a:moveTo>
                <a:lnTo>
                  <a:pt x="5112004" y="31750"/>
                </a:lnTo>
                <a:lnTo>
                  <a:pt x="5112004" y="44450"/>
                </a:lnTo>
                <a:lnTo>
                  <a:pt x="5075185" y="44518"/>
                </a:lnTo>
                <a:lnTo>
                  <a:pt x="5076912" y="53000"/>
                </a:lnTo>
                <a:lnTo>
                  <a:pt x="5085111" y="65071"/>
                </a:lnTo>
                <a:lnTo>
                  <a:pt x="5097264" y="73213"/>
                </a:lnTo>
                <a:lnTo>
                  <a:pt x="5112131" y="76200"/>
                </a:lnTo>
                <a:lnTo>
                  <a:pt x="5126904" y="73191"/>
                </a:lnTo>
                <a:lnTo>
                  <a:pt x="5138975" y="64992"/>
                </a:lnTo>
                <a:lnTo>
                  <a:pt x="5147117" y="52839"/>
                </a:lnTo>
                <a:lnTo>
                  <a:pt x="5150104" y="37973"/>
                </a:lnTo>
                <a:lnTo>
                  <a:pt x="5148836" y="31750"/>
                </a:lnTo>
                <a:close/>
              </a:path>
              <a:path w="5150484" h="76200">
                <a:moveTo>
                  <a:pt x="5075191" y="31818"/>
                </a:moveTo>
                <a:lnTo>
                  <a:pt x="0" y="41275"/>
                </a:lnTo>
                <a:lnTo>
                  <a:pt x="0" y="53975"/>
                </a:lnTo>
                <a:lnTo>
                  <a:pt x="5075185" y="44518"/>
                </a:lnTo>
                <a:lnTo>
                  <a:pt x="5073904" y="38226"/>
                </a:lnTo>
                <a:lnTo>
                  <a:pt x="5075191" y="31818"/>
                </a:lnTo>
                <a:close/>
              </a:path>
              <a:path w="5150484" h="76200">
                <a:moveTo>
                  <a:pt x="5112004" y="31750"/>
                </a:moveTo>
                <a:lnTo>
                  <a:pt x="5075191" y="31818"/>
                </a:lnTo>
                <a:lnTo>
                  <a:pt x="5073904" y="38226"/>
                </a:lnTo>
                <a:lnTo>
                  <a:pt x="5075185" y="44518"/>
                </a:lnTo>
                <a:lnTo>
                  <a:pt x="5112004" y="44450"/>
                </a:lnTo>
                <a:lnTo>
                  <a:pt x="5112004" y="31750"/>
                </a:lnTo>
                <a:close/>
              </a:path>
              <a:path w="5150484" h="76200">
                <a:moveTo>
                  <a:pt x="5111876" y="0"/>
                </a:moveTo>
                <a:lnTo>
                  <a:pt x="5097103" y="3008"/>
                </a:lnTo>
                <a:lnTo>
                  <a:pt x="5085032" y="11207"/>
                </a:lnTo>
                <a:lnTo>
                  <a:pt x="5076890" y="23360"/>
                </a:lnTo>
                <a:lnTo>
                  <a:pt x="5075191" y="31818"/>
                </a:lnTo>
                <a:lnTo>
                  <a:pt x="5148836" y="31750"/>
                </a:lnTo>
                <a:lnTo>
                  <a:pt x="5147095" y="23199"/>
                </a:lnTo>
                <a:lnTo>
                  <a:pt x="5138896" y="11128"/>
                </a:lnTo>
                <a:lnTo>
                  <a:pt x="5126743" y="2986"/>
                </a:lnTo>
                <a:lnTo>
                  <a:pt x="5111876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1" name="object 6">
            <a:extLst>
              <a:ext uri="{FF2B5EF4-FFF2-40B4-BE49-F238E27FC236}">
                <a16:creationId xmlns:a16="http://schemas.microsoft.com/office/drawing/2014/main" id="{4B884C94-911E-472E-9BA0-2D19124E640B}"/>
              </a:ext>
            </a:extLst>
          </p:cNvPr>
          <p:cNvSpPr/>
          <p:nvPr userDrawn="1"/>
        </p:nvSpPr>
        <p:spPr>
          <a:xfrm>
            <a:off x="2618739" y="2329098"/>
            <a:ext cx="863600" cy="863600"/>
          </a:xfrm>
          <a:custGeom>
            <a:avLst/>
            <a:gdLst/>
            <a:ahLst/>
            <a:cxnLst/>
            <a:rect l="l" t="t" r="r" b="b"/>
            <a:pathLst>
              <a:path w="863600" h="863600">
                <a:moveTo>
                  <a:pt x="863600" y="0"/>
                </a:moveTo>
                <a:lnTo>
                  <a:pt x="0" y="0"/>
                </a:lnTo>
                <a:lnTo>
                  <a:pt x="0" y="863600"/>
                </a:lnTo>
                <a:lnTo>
                  <a:pt x="863600" y="863600"/>
                </a:lnTo>
                <a:lnTo>
                  <a:pt x="86360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2" name="object 8">
            <a:extLst>
              <a:ext uri="{FF2B5EF4-FFF2-40B4-BE49-F238E27FC236}">
                <a16:creationId xmlns:a16="http://schemas.microsoft.com/office/drawing/2014/main" id="{2176FD85-2C05-46BC-84C1-933D5016095C}"/>
              </a:ext>
            </a:extLst>
          </p:cNvPr>
          <p:cNvSpPr/>
          <p:nvPr userDrawn="1"/>
        </p:nvSpPr>
        <p:spPr>
          <a:xfrm>
            <a:off x="2495550" y="4446187"/>
            <a:ext cx="5150485" cy="76200"/>
          </a:xfrm>
          <a:custGeom>
            <a:avLst/>
            <a:gdLst/>
            <a:ahLst/>
            <a:cxnLst/>
            <a:rect l="l" t="t" r="r" b="b"/>
            <a:pathLst>
              <a:path w="5150484" h="76200">
                <a:moveTo>
                  <a:pt x="5148836" y="31750"/>
                </a:moveTo>
                <a:lnTo>
                  <a:pt x="5112004" y="31750"/>
                </a:lnTo>
                <a:lnTo>
                  <a:pt x="5112004" y="44450"/>
                </a:lnTo>
                <a:lnTo>
                  <a:pt x="5075185" y="44518"/>
                </a:lnTo>
                <a:lnTo>
                  <a:pt x="5076912" y="53000"/>
                </a:lnTo>
                <a:lnTo>
                  <a:pt x="5085111" y="65071"/>
                </a:lnTo>
                <a:lnTo>
                  <a:pt x="5097264" y="73213"/>
                </a:lnTo>
                <a:lnTo>
                  <a:pt x="5112131" y="76200"/>
                </a:lnTo>
                <a:lnTo>
                  <a:pt x="5126904" y="73191"/>
                </a:lnTo>
                <a:lnTo>
                  <a:pt x="5138975" y="64992"/>
                </a:lnTo>
                <a:lnTo>
                  <a:pt x="5147117" y="52839"/>
                </a:lnTo>
                <a:lnTo>
                  <a:pt x="5150104" y="37973"/>
                </a:lnTo>
                <a:lnTo>
                  <a:pt x="5148836" y="31750"/>
                </a:lnTo>
                <a:close/>
              </a:path>
              <a:path w="5150484" h="76200">
                <a:moveTo>
                  <a:pt x="5075191" y="31818"/>
                </a:moveTo>
                <a:lnTo>
                  <a:pt x="0" y="41275"/>
                </a:lnTo>
                <a:lnTo>
                  <a:pt x="0" y="53975"/>
                </a:lnTo>
                <a:lnTo>
                  <a:pt x="5075185" y="44518"/>
                </a:lnTo>
                <a:lnTo>
                  <a:pt x="5073904" y="38226"/>
                </a:lnTo>
                <a:lnTo>
                  <a:pt x="5075191" y="31818"/>
                </a:lnTo>
                <a:close/>
              </a:path>
              <a:path w="5150484" h="76200">
                <a:moveTo>
                  <a:pt x="5112004" y="31750"/>
                </a:moveTo>
                <a:lnTo>
                  <a:pt x="5075191" y="31818"/>
                </a:lnTo>
                <a:lnTo>
                  <a:pt x="5073904" y="38226"/>
                </a:lnTo>
                <a:lnTo>
                  <a:pt x="5075185" y="44518"/>
                </a:lnTo>
                <a:lnTo>
                  <a:pt x="5112004" y="44450"/>
                </a:lnTo>
                <a:lnTo>
                  <a:pt x="5112004" y="31750"/>
                </a:lnTo>
                <a:close/>
              </a:path>
              <a:path w="5150484" h="76200">
                <a:moveTo>
                  <a:pt x="5111877" y="0"/>
                </a:moveTo>
                <a:lnTo>
                  <a:pt x="5097103" y="3008"/>
                </a:lnTo>
                <a:lnTo>
                  <a:pt x="5085032" y="11207"/>
                </a:lnTo>
                <a:lnTo>
                  <a:pt x="5076890" y="23360"/>
                </a:lnTo>
                <a:lnTo>
                  <a:pt x="5075191" y="31818"/>
                </a:lnTo>
                <a:lnTo>
                  <a:pt x="5148836" y="31750"/>
                </a:lnTo>
                <a:lnTo>
                  <a:pt x="5147095" y="23199"/>
                </a:lnTo>
                <a:lnTo>
                  <a:pt x="5138896" y="11128"/>
                </a:lnTo>
                <a:lnTo>
                  <a:pt x="5126743" y="2986"/>
                </a:lnTo>
                <a:lnTo>
                  <a:pt x="5111877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3" name="object 9">
            <a:extLst>
              <a:ext uri="{FF2B5EF4-FFF2-40B4-BE49-F238E27FC236}">
                <a16:creationId xmlns:a16="http://schemas.microsoft.com/office/drawing/2014/main" id="{ECE3E4D2-A7C6-4B62-81BE-A3C27FB1F4F3}"/>
              </a:ext>
            </a:extLst>
          </p:cNvPr>
          <p:cNvSpPr/>
          <p:nvPr userDrawn="1"/>
        </p:nvSpPr>
        <p:spPr>
          <a:xfrm>
            <a:off x="1701800" y="3637197"/>
            <a:ext cx="863600" cy="866140"/>
          </a:xfrm>
          <a:custGeom>
            <a:avLst/>
            <a:gdLst/>
            <a:ahLst/>
            <a:cxnLst/>
            <a:rect l="l" t="t" r="r" b="b"/>
            <a:pathLst>
              <a:path w="863600" h="866139">
                <a:moveTo>
                  <a:pt x="863600" y="0"/>
                </a:moveTo>
                <a:lnTo>
                  <a:pt x="0" y="0"/>
                </a:lnTo>
                <a:lnTo>
                  <a:pt x="0" y="866139"/>
                </a:lnTo>
                <a:lnTo>
                  <a:pt x="863600" y="866139"/>
                </a:lnTo>
                <a:lnTo>
                  <a:pt x="86360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4" name="object 11">
            <a:extLst>
              <a:ext uri="{FF2B5EF4-FFF2-40B4-BE49-F238E27FC236}">
                <a16:creationId xmlns:a16="http://schemas.microsoft.com/office/drawing/2014/main" id="{6FC1CDFA-E55F-4A35-B196-35AF2A9865C9}"/>
              </a:ext>
            </a:extLst>
          </p:cNvPr>
          <p:cNvSpPr/>
          <p:nvPr userDrawn="1"/>
        </p:nvSpPr>
        <p:spPr>
          <a:xfrm>
            <a:off x="1578609" y="5754288"/>
            <a:ext cx="5150485" cy="76200"/>
          </a:xfrm>
          <a:custGeom>
            <a:avLst/>
            <a:gdLst/>
            <a:ahLst/>
            <a:cxnLst/>
            <a:rect l="l" t="t" r="r" b="b"/>
            <a:pathLst>
              <a:path w="5150484" h="76200">
                <a:moveTo>
                  <a:pt x="5148836" y="31750"/>
                </a:moveTo>
                <a:lnTo>
                  <a:pt x="5112004" y="31750"/>
                </a:lnTo>
                <a:lnTo>
                  <a:pt x="5112004" y="44450"/>
                </a:lnTo>
                <a:lnTo>
                  <a:pt x="5075185" y="44518"/>
                </a:lnTo>
                <a:lnTo>
                  <a:pt x="5076912" y="53000"/>
                </a:lnTo>
                <a:lnTo>
                  <a:pt x="5085111" y="65071"/>
                </a:lnTo>
                <a:lnTo>
                  <a:pt x="5097264" y="73213"/>
                </a:lnTo>
                <a:lnTo>
                  <a:pt x="5112131" y="76200"/>
                </a:lnTo>
                <a:lnTo>
                  <a:pt x="5126904" y="73191"/>
                </a:lnTo>
                <a:lnTo>
                  <a:pt x="5138975" y="64992"/>
                </a:lnTo>
                <a:lnTo>
                  <a:pt x="5147117" y="52839"/>
                </a:lnTo>
                <a:lnTo>
                  <a:pt x="5150104" y="37972"/>
                </a:lnTo>
                <a:lnTo>
                  <a:pt x="5148836" y="31750"/>
                </a:lnTo>
                <a:close/>
              </a:path>
              <a:path w="5150484" h="76200">
                <a:moveTo>
                  <a:pt x="5075191" y="31818"/>
                </a:moveTo>
                <a:lnTo>
                  <a:pt x="0" y="41275"/>
                </a:lnTo>
                <a:lnTo>
                  <a:pt x="0" y="53975"/>
                </a:lnTo>
                <a:lnTo>
                  <a:pt x="5075185" y="44518"/>
                </a:lnTo>
                <a:lnTo>
                  <a:pt x="5073904" y="38227"/>
                </a:lnTo>
                <a:lnTo>
                  <a:pt x="5075191" y="31818"/>
                </a:lnTo>
                <a:close/>
              </a:path>
              <a:path w="5150484" h="76200">
                <a:moveTo>
                  <a:pt x="5112004" y="31750"/>
                </a:moveTo>
                <a:lnTo>
                  <a:pt x="5075191" y="31818"/>
                </a:lnTo>
                <a:lnTo>
                  <a:pt x="5073904" y="38227"/>
                </a:lnTo>
                <a:lnTo>
                  <a:pt x="5075185" y="44518"/>
                </a:lnTo>
                <a:lnTo>
                  <a:pt x="5112004" y="44450"/>
                </a:lnTo>
                <a:lnTo>
                  <a:pt x="5112004" y="31750"/>
                </a:lnTo>
                <a:close/>
              </a:path>
              <a:path w="5150484" h="76200">
                <a:moveTo>
                  <a:pt x="5111876" y="0"/>
                </a:moveTo>
                <a:lnTo>
                  <a:pt x="5097103" y="3008"/>
                </a:lnTo>
                <a:lnTo>
                  <a:pt x="5085032" y="11207"/>
                </a:lnTo>
                <a:lnTo>
                  <a:pt x="5076890" y="23360"/>
                </a:lnTo>
                <a:lnTo>
                  <a:pt x="5075191" y="31818"/>
                </a:lnTo>
                <a:lnTo>
                  <a:pt x="5148836" y="31750"/>
                </a:lnTo>
                <a:lnTo>
                  <a:pt x="5147095" y="23199"/>
                </a:lnTo>
                <a:lnTo>
                  <a:pt x="5138896" y="11128"/>
                </a:lnTo>
                <a:lnTo>
                  <a:pt x="5126743" y="2986"/>
                </a:lnTo>
                <a:lnTo>
                  <a:pt x="5111876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5" name="object 12">
            <a:extLst>
              <a:ext uri="{FF2B5EF4-FFF2-40B4-BE49-F238E27FC236}">
                <a16:creationId xmlns:a16="http://schemas.microsoft.com/office/drawing/2014/main" id="{73197DEC-1384-494B-9BA3-A117F8EB59E8}"/>
              </a:ext>
            </a:extLst>
          </p:cNvPr>
          <p:cNvSpPr/>
          <p:nvPr userDrawn="1"/>
        </p:nvSpPr>
        <p:spPr>
          <a:xfrm>
            <a:off x="789940" y="4947838"/>
            <a:ext cx="863600" cy="863600"/>
          </a:xfrm>
          <a:custGeom>
            <a:avLst/>
            <a:gdLst/>
            <a:ahLst/>
            <a:cxnLst/>
            <a:rect l="l" t="t" r="r" b="b"/>
            <a:pathLst>
              <a:path w="863600" h="863600">
                <a:moveTo>
                  <a:pt x="863599" y="0"/>
                </a:moveTo>
                <a:lnTo>
                  <a:pt x="0" y="0"/>
                </a:lnTo>
                <a:lnTo>
                  <a:pt x="0" y="863600"/>
                </a:lnTo>
                <a:lnTo>
                  <a:pt x="863599" y="863600"/>
                </a:lnTo>
                <a:lnTo>
                  <a:pt x="8635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73B10091-F641-4E97-9313-DFC6B99DB4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44152" y="3603066"/>
            <a:ext cx="376363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7" name="Text Placeholder 17">
            <a:extLst>
              <a:ext uri="{FF2B5EF4-FFF2-40B4-BE49-F238E27FC236}">
                <a16:creationId xmlns:a16="http://schemas.microsoft.com/office/drawing/2014/main" id="{9139D0D9-EB99-4B3B-ACD6-ECDD508B03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44152" y="3910390"/>
            <a:ext cx="376363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9010CB16-910D-4502-A329-BAF606E268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61091" y="2297886"/>
            <a:ext cx="376363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1554DB9B-6793-4534-847B-ADE4F6895A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61091" y="2605210"/>
            <a:ext cx="376363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pic>
        <p:nvPicPr>
          <p:cNvPr id="26" name="Picture 25" descr="darkest-green-horz.png">
            <a:extLst>
              <a:ext uri="{FF2B5EF4-FFF2-40B4-BE49-F238E27FC236}">
                <a16:creationId xmlns:a16="http://schemas.microsoft.com/office/drawing/2014/main" id="{84549202-4A76-4DBD-9FBD-05D5C433EB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1984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6 Category Layout/Process/Cyc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A95DDFC-AB79-4DFA-9819-D97BE429BD7E}"/>
              </a:ext>
            </a:extLst>
          </p:cNvPr>
          <p:cNvSpPr/>
          <p:nvPr userDrawn="1"/>
        </p:nvSpPr>
        <p:spPr>
          <a:xfrm>
            <a:off x="-1" y="2827511"/>
            <a:ext cx="10842172" cy="1680940"/>
          </a:xfrm>
          <a:custGeom>
            <a:avLst/>
            <a:gdLst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0 w 10842172"/>
              <a:gd name="connsiteY4" fmla="*/ 2075542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0 w 10842172"/>
              <a:gd name="connsiteY4" fmla="*/ 2075542 h 2075542"/>
              <a:gd name="connsiteX5" fmla="*/ 91440 w 10842172"/>
              <a:gd name="connsiteY5" fmla="*/ 91440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0 w 10842172"/>
              <a:gd name="connsiteY4" fmla="*/ 2075542 h 2075542"/>
              <a:gd name="connsiteX0" fmla="*/ 0 w 10905446"/>
              <a:gd name="connsiteY0" fmla="*/ 0 h 2075542"/>
              <a:gd name="connsiteX1" fmla="*/ 9804401 w 10905446"/>
              <a:gd name="connsiteY1" fmla="*/ 0 h 2075542"/>
              <a:gd name="connsiteX2" fmla="*/ 10842172 w 10905446"/>
              <a:gd name="connsiteY2" fmla="*/ 1037771 h 2075542"/>
              <a:gd name="connsiteX3" fmla="*/ 9804401 w 10905446"/>
              <a:gd name="connsiteY3" fmla="*/ 2075542 h 2075542"/>
              <a:gd name="connsiteX4" fmla="*/ 1930400 w 10905446"/>
              <a:gd name="connsiteY4" fmla="*/ 2064657 h 2075542"/>
              <a:gd name="connsiteX5" fmla="*/ 0 w 10905446"/>
              <a:gd name="connsiteY5" fmla="*/ 2075542 h 2075542"/>
              <a:gd name="connsiteX0" fmla="*/ 0 w 10905446"/>
              <a:gd name="connsiteY0" fmla="*/ 0 h 2075542"/>
              <a:gd name="connsiteX1" fmla="*/ 9804401 w 10905446"/>
              <a:gd name="connsiteY1" fmla="*/ 0 h 2075542"/>
              <a:gd name="connsiteX2" fmla="*/ 10842172 w 10905446"/>
              <a:gd name="connsiteY2" fmla="*/ 1037771 h 2075542"/>
              <a:gd name="connsiteX3" fmla="*/ 9804401 w 10905446"/>
              <a:gd name="connsiteY3" fmla="*/ 2075542 h 2075542"/>
              <a:gd name="connsiteX4" fmla="*/ 1930400 w 10905446"/>
              <a:gd name="connsiteY4" fmla="*/ 2064657 h 2075542"/>
              <a:gd name="connsiteX0" fmla="*/ 0 w 10854085"/>
              <a:gd name="connsiteY0" fmla="*/ 0 h 2075542"/>
              <a:gd name="connsiteX1" fmla="*/ 9804401 w 10854085"/>
              <a:gd name="connsiteY1" fmla="*/ 0 h 2075542"/>
              <a:gd name="connsiteX2" fmla="*/ 10842172 w 10854085"/>
              <a:gd name="connsiteY2" fmla="*/ 1037771 h 2075542"/>
              <a:gd name="connsiteX3" fmla="*/ 9804401 w 10854085"/>
              <a:gd name="connsiteY3" fmla="*/ 2075542 h 2075542"/>
              <a:gd name="connsiteX4" fmla="*/ 1930400 w 10854085"/>
              <a:gd name="connsiteY4" fmla="*/ 2064657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1930400 w 10842172"/>
              <a:gd name="connsiteY4" fmla="*/ 2064657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1930400 w 10842172"/>
              <a:gd name="connsiteY4" fmla="*/ 2064657 h 2075542"/>
              <a:gd name="connsiteX0" fmla="*/ 0 w 10846179"/>
              <a:gd name="connsiteY0" fmla="*/ 0 h 2075542"/>
              <a:gd name="connsiteX1" fmla="*/ 9804401 w 10846179"/>
              <a:gd name="connsiteY1" fmla="*/ 0 h 2075542"/>
              <a:gd name="connsiteX2" fmla="*/ 10842172 w 10846179"/>
              <a:gd name="connsiteY2" fmla="*/ 1037771 h 2075542"/>
              <a:gd name="connsiteX3" fmla="*/ 9804401 w 10846179"/>
              <a:gd name="connsiteY3" fmla="*/ 2075542 h 2075542"/>
              <a:gd name="connsiteX4" fmla="*/ 1930400 w 10846179"/>
              <a:gd name="connsiteY4" fmla="*/ 2064657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1930400 w 10842172"/>
              <a:gd name="connsiteY4" fmla="*/ 2064657 h 2075542"/>
              <a:gd name="connsiteX0" fmla="*/ 0 w 10842172"/>
              <a:gd name="connsiteY0" fmla="*/ 0 h 2075542"/>
              <a:gd name="connsiteX1" fmla="*/ 9804401 w 10842172"/>
              <a:gd name="connsiteY1" fmla="*/ 0 h 2075542"/>
              <a:gd name="connsiteX2" fmla="*/ 10842172 w 10842172"/>
              <a:gd name="connsiteY2" fmla="*/ 1037771 h 2075542"/>
              <a:gd name="connsiteX3" fmla="*/ 9804401 w 10842172"/>
              <a:gd name="connsiteY3" fmla="*/ 2075542 h 2075542"/>
              <a:gd name="connsiteX4" fmla="*/ 1930400 w 10842172"/>
              <a:gd name="connsiteY4" fmla="*/ 2064657 h 2075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42172" h="2075542">
                <a:moveTo>
                  <a:pt x="0" y="0"/>
                </a:moveTo>
                <a:lnTo>
                  <a:pt x="9804401" y="0"/>
                </a:lnTo>
                <a:cubicBezTo>
                  <a:pt x="10377546" y="0"/>
                  <a:pt x="10842172" y="464626"/>
                  <a:pt x="10842172" y="1037771"/>
                </a:cubicBezTo>
                <a:cubicBezTo>
                  <a:pt x="10823122" y="1268016"/>
                  <a:pt x="10709536" y="2016385"/>
                  <a:pt x="9804401" y="2075542"/>
                </a:cubicBezTo>
                <a:lnTo>
                  <a:pt x="1930400" y="2064657"/>
                </a:lnTo>
              </a:path>
            </a:pathLst>
          </a:custGeom>
          <a:noFill/>
          <a:ln w="28575" cap="rnd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0A27786-8D9D-4385-BFAB-71D38DA24D89}"/>
              </a:ext>
            </a:extLst>
          </p:cNvPr>
          <p:cNvSpPr/>
          <p:nvPr userDrawn="1"/>
        </p:nvSpPr>
        <p:spPr>
          <a:xfrm>
            <a:off x="1666989" y="2704172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011FF34-6894-4E93-B887-D53C5AE1D95D}"/>
              </a:ext>
            </a:extLst>
          </p:cNvPr>
          <p:cNvSpPr/>
          <p:nvPr userDrawn="1"/>
        </p:nvSpPr>
        <p:spPr>
          <a:xfrm>
            <a:off x="1666989" y="4379129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0454B69-C755-4118-B0FA-38163CC07B3F}"/>
              </a:ext>
            </a:extLst>
          </p:cNvPr>
          <p:cNvSpPr/>
          <p:nvPr userDrawn="1"/>
        </p:nvSpPr>
        <p:spPr>
          <a:xfrm>
            <a:off x="5382901" y="2704172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EE91119-6533-45A6-8509-5A64D46E288C}"/>
              </a:ext>
            </a:extLst>
          </p:cNvPr>
          <p:cNvSpPr/>
          <p:nvPr userDrawn="1"/>
        </p:nvSpPr>
        <p:spPr>
          <a:xfrm>
            <a:off x="5382901" y="4379129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1723B66-8D25-4C23-A926-75407EBB8E01}"/>
              </a:ext>
            </a:extLst>
          </p:cNvPr>
          <p:cNvSpPr/>
          <p:nvPr userDrawn="1"/>
        </p:nvSpPr>
        <p:spPr>
          <a:xfrm>
            <a:off x="9098813" y="2704172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EA9CA2E-39D1-4CF2-A029-10802B6CF40C}"/>
              </a:ext>
            </a:extLst>
          </p:cNvPr>
          <p:cNvSpPr/>
          <p:nvPr userDrawn="1"/>
        </p:nvSpPr>
        <p:spPr>
          <a:xfrm>
            <a:off x="9098813" y="4379129"/>
            <a:ext cx="254000" cy="25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A7B1B8CE-30D5-4D26-AAD5-67BBC610C2D4}"/>
              </a:ext>
            </a:extLst>
          </p:cNvPr>
          <p:cNvSpPr/>
          <p:nvPr userDrawn="1"/>
        </p:nvSpPr>
        <p:spPr>
          <a:xfrm>
            <a:off x="3559696" y="2704172"/>
            <a:ext cx="184497" cy="254000"/>
          </a:xfrm>
          <a:prstGeom prst="chevron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7BCCEA95-DB7C-478C-8326-1D34E5EB8060}"/>
              </a:ext>
            </a:extLst>
          </p:cNvPr>
          <p:cNvSpPr/>
          <p:nvPr userDrawn="1"/>
        </p:nvSpPr>
        <p:spPr>
          <a:xfrm>
            <a:off x="7275608" y="2704172"/>
            <a:ext cx="184497" cy="254000"/>
          </a:xfrm>
          <a:prstGeom prst="chevron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36DE7A36-A1A1-4EC5-B39C-0EEA3EE783FA}"/>
              </a:ext>
            </a:extLst>
          </p:cNvPr>
          <p:cNvSpPr/>
          <p:nvPr userDrawn="1"/>
        </p:nvSpPr>
        <p:spPr>
          <a:xfrm flipH="1" flipV="1">
            <a:off x="3559696" y="4379129"/>
            <a:ext cx="184497" cy="254000"/>
          </a:xfrm>
          <a:prstGeom prst="chevron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20894DB2-4D4C-4BE9-96C7-91BEF2CA728A}"/>
              </a:ext>
            </a:extLst>
          </p:cNvPr>
          <p:cNvSpPr/>
          <p:nvPr userDrawn="1"/>
        </p:nvSpPr>
        <p:spPr>
          <a:xfrm flipH="1" flipV="1">
            <a:off x="7275608" y="4379129"/>
            <a:ext cx="184497" cy="254000"/>
          </a:xfrm>
          <a:prstGeom prst="chevron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C5E0D752-DBE8-4B08-A9C6-DCDD8324BD9E}"/>
              </a:ext>
            </a:extLst>
          </p:cNvPr>
          <p:cNvSpPr txBox="1">
            <a:spLocks/>
          </p:cNvSpPr>
          <p:nvPr userDrawn="1"/>
        </p:nvSpPr>
        <p:spPr>
          <a:xfrm>
            <a:off x="1606394" y="2979777"/>
            <a:ext cx="333461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1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30232387-1567-434C-A17A-7999E0582A54}"/>
              </a:ext>
            </a:extLst>
          </p:cNvPr>
          <p:cNvSpPr txBox="1">
            <a:spLocks/>
          </p:cNvSpPr>
          <p:nvPr userDrawn="1"/>
        </p:nvSpPr>
        <p:spPr>
          <a:xfrm>
            <a:off x="5343169" y="2979777"/>
            <a:ext cx="333461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2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1C42E059-3037-469B-B618-73C51B347B19}"/>
              </a:ext>
            </a:extLst>
          </p:cNvPr>
          <p:cNvSpPr txBox="1">
            <a:spLocks/>
          </p:cNvSpPr>
          <p:nvPr userDrawn="1"/>
        </p:nvSpPr>
        <p:spPr>
          <a:xfrm>
            <a:off x="9059082" y="2979777"/>
            <a:ext cx="333461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3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2AAC9E8B-86AA-4FED-BAD4-DBFCBC02B0A2}"/>
              </a:ext>
            </a:extLst>
          </p:cNvPr>
          <p:cNvSpPr txBox="1">
            <a:spLocks/>
          </p:cNvSpPr>
          <p:nvPr userDrawn="1"/>
        </p:nvSpPr>
        <p:spPr>
          <a:xfrm>
            <a:off x="1529014" y="4046592"/>
            <a:ext cx="488221" cy="30777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6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656059AD-06FA-4D48-B12D-449E3FCE052C}"/>
              </a:ext>
            </a:extLst>
          </p:cNvPr>
          <p:cNvSpPr txBox="1">
            <a:spLocks/>
          </p:cNvSpPr>
          <p:nvPr userDrawn="1"/>
        </p:nvSpPr>
        <p:spPr>
          <a:xfrm>
            <a:off x="5265789" y="4046592"/>
            <a:ext cx="488221" cy="30777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5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2A52478E-A98F-4997-B0CE-9BAEA98A3290}"/>
              </a:ext>
            </a:extLst>
          </p:cNvPr>
          <p:cNvSpPr txBox="1">
            <a:spLocks/>
          </p:cNvSpPr>
          <p:nvPr userDrawn="1"/>
        </p:nvSpPr>
        <p:spPr>
          <a:xfrm>
            <a:off x="8981702" y="4046592"/>
            <a:ext cx="488221" cy="30777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04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B653395-BEEB-41F2-8A65-6F30E3D16F85}"/>
              </a:ext>
            </a:extLst>
          </p:cNvPr>
          <p:cNvSpPr/>
          <p:nvPr userDrawn="1"/>
        </p:nvSpPr>
        <p:spPr>
          <a:xfrm>
            <a:off x="1459062" y="1131768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CAF266C-1944-430E-A59A-B863AD782221}"/>
              </a:ext>
            </a:extLst>
          </p:cNvPr>
          <p:cNvSpPr/>
          <p:nvPr userDrawn="1"/>
        </p:nvSpPr>
        <p:spPr>
          <a:xfrm>
            <a:off x="5174974" y="1131768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C557315E-D419-4928-BB6E-50B04EA9113E}"/>
              </a:ext>
            </a:extLst>
          </p:cNvPr>
          <p:cNvSpPr/>
          <p:nvPr userDrawn="1"/>
        </p:nvSpPr>
        <p:spPr>
          <a:xfrm>
            <a:off x="8890885" y="1131768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270AC52-631D-4BBA-BA76-A903053BDAFC}"/>
              </a:ext>
            </a:extLst>
          </p:cNvPr>
          <p:cNvSpPr/>
          <p:nvPr userDrawn="1"/>
        </p:nvSpPr>
        <p:spPr>
          <a:xfrm>
            <a:off x="8890885" y="5485003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6BABE8A-D1EE-419B-9E5D-B6A399D1535B}"/>
              </a:ext>
            </a:extLst>
          </p:cNvPr>
          <p:cNvSpPr/>
          <p:nvPr userDrawn="1"/>
        </p:nvSpPr>
        <p:spPr>
          <a:xfrm>
            <a:off x="5174973" y="5485003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46942A1C-A301-48E3-8109-4C43282EE108}"/>
              </a:ext>
            </a:extLst>
          </p:cNvPr>
          <p:cNvSpPr/>
          <p:nvPr userDrawn="1"/>
        </p:nvSpPr>
        <p:spPr>
          <a:xfrm>
            <a:off x="1459062" y="5485003"/>
            <a:ext cx="669854" cy="669854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2" name="Arrow: Chevron 61">
            <a:extLst>
              <a:ext uri="{FF2B5EF4-FFF2-40B4-BE49-F238E27FC236}">
                <a16:creationId xmlns:a16="http://schemas.microsoft.com/office/drawing/2014/main" id="{99071D3E-FACF-4F7B-BAD8-5CC47F7E8804}"/>
              </a:ext>
            </a:extLst>
          </p:cNvPr>
          <p:cNvSpPr/>
          <p:nvPr userDrawn="1"/>
        </p:nvSpPr>
        <p:spPr>
          <a:xfrm rot="5400000">
            <a:off x="10749923" y="3452895"/>
            <a:ext cx="184497" cy="254000"/>
          </a:xfrm>
          <a:prstGeom prst="chevron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4841C596-BAE4-4C03-A32E-AF1E648A2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051" y="1939052"/>
            <a:ext cx="256387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 defTabSz="914400" rtl="0" eaLnBrk="1" latinLnBrk="0" hangingPunct="1">
              <a:spcAft>
                <a:spcPts val="600"/>
              </a:spcAft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FC5C86E7-3B62-460B-8642-B2E537752F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7963" y="1939052"/>
            <a:ext cx="256387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b="0" i="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363D3EDA-2F31-4549-AC4D-5428BE3E6E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43874" y="1939052"/>
            <a:ext cx="256387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b="0" i="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D4788C09-80A9-4E49-A14F-23C78980F7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051" y="4738739"/>
            <a:ext cx="2563876" cy="64633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b="0" i="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45CE5C2C-915A-4D5B-928E-C9AB39D506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7962" y="4738739"/>
            <a:ext cx="2563876" cy="64633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b="0" i="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BD04D635-E9DF-443D-9C3B-08828033FA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43874" y="4738739"/>
            <a:ext cx="2563876" cy="64633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lang="en-US" sz="1400" b="0" i="0" kern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endParaRPr lang="en-US"/>
          </a:p>
        </p:txBody>
      </p:sp>
      <p:pic>
        <p:nvPicPr>
          <p:cNvPr id="48" name="Picture 47" descr="darkest-green-horz.png">
            <a:extLst>
              <a:ext uri="{FF2B5EF4-FFF2-40B4-BE49-F238E27FC236}">
                <a16:creationId xmlns:a16="http://schemas.microsoft.com/office/drawing/2014/main" id="{DC2A8E5E-7B3C-43CF-8974-3BBDA9C238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099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…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FCF9C82F-6504-4718-B8B0-AD93EC86C8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01" y="3884785"/>
            <a:ext cx="32067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547D76F8-AE9D-470F-B864-FB9C47D764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01" y="4192109"/>
            <a:ext cx="3206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46" name="object 4">
            <a:extLst>
              <a:ext uri="{FF2B5EF4-FFF2-40B4-BE49-F238E27FC236}">
                <a16:creationId xmlns:a16="http://schemas.microsoft.com/office/drawing/2014/main" id="{FFC15CFE-2A49-47AF-9011-66D416408531}"/>
              </a:ext>
            </a:extLst>
          </p:cNvPr>
          <p:cNvSpPr/>
          <p:nvPr userDrawn="1"/>
        </p:nvSpPr>
        <p:spPr>
          <a:xfrm>
            <a:off x="4965405" y="3159167"/>
            <a:ext cx="2243205" cy="2243204"/>
          </a:xfrm>
          <a:custGeom>
            <a:avLst/>
            <a:gdLst/>
            <a:ahLst/>
            <a:cxnLst/>
            <a:rect l="l" t="t" r="r" b="b"/>
            <a:pathLst>
              <a:path w="1950720" h="1950720">
                <a:moveTo>
                  <a:pt x="0" y="975359"/>
                </a:moveTo>
                <a:lnTo>
                  <a:pt x="1193" y="926674"/>
                </a:lnTo>
                <a:lnTo>
                  <a:pt x="4736" y="878607"/>
                </a:lnTo>
                <a:lnTo>
                  <a:pt x="10574" y="831215"/>
                </a:lnTo>
                <a:lnTo>
                  <a:pt x="18649" y="784553"/>
                </a:lnTo>
                <a:lnTo>
                  <a:pt x="28907" y="738676"/>
                </a:lnTo>
                <a:lnTo>
                  <a:pt x="41291" y="693642"/>
                </a:lnTo>
                <a:lnTo>
                  <a:pt x="55745" y="649505"/>
                </a:lnTo>
                <a:lnTo>
                  <a:pt x="72214" y="606321"/>
                </a:lnTo>
                <a:lnTo>
                  <a:pt x="90643" y="564147"/>
                </a:lnTo>
                <a:lnTo>
                  <a:pt x="110974" y="523039"/>
                </a:lnTo>
                <a:lnTo>
                  <a:pt x="133152" y="483051"/>
                </a:lnTo>
                <a:lnTo>
                  <a:pt x="157121" y="444240"/>
                </a:lnTo>
                <a:lnTo>
                  <a:pt x="182826" y="406662"/>
                </a:lnTo>
                <a:lnTo>
                  <a:pt x="210211" y="370373"/>
                </a:lnTo>
                <a:lnTo>
                  <a:pt x="239219" y="335428"/>
                </a:lnTo>
                <a:lnTo>
                  <a:pt x="269796" y="301884"/>
                </a:lnTo>
                <a:lnTo>
                  <a:pt x="301884" y="269796"/>
                </a:lnTo>
                <a:lnTo>
                  <a:pt x="335428" y="239219"/>
                </a:lnTo>
                <a:lnTo>
                  <a:pt x="370373" y="210211"/>
                </a:lnTo>
                <a:lnTo>
                  <a:pt x="406662" y="182826"/>
                </a:lnTo>
                <a:lnTo>
                  <a:pt x="444240" y="157121"/>
                </a:lnTo>
                <a:lnTo>
                  <a:pt x="483051" y="133152"/>
                </a:lnTo>
                <a:lnTo>
                  <a:pt x="523039" y="110974"/>
                </a:lnTo>
                <a:lnTo>
                  <a:pt x="564147" y="90643"/>
                </a:lnTo>
                <a:lnTo>
                  <a:pt x="606321" y="72214"/>
                </a:lnTo>
                <a:lnTo>
                  <a:pt x="649505" y="55745"/>
                </a:lnTo>
                <a:lnTo>
                  <a:pt x="693642" y="41291"/>
                </a:lnTo>
                <a:lnTo>
                  <a:pt x="738676" y="28907"/>
                </a:lnTo>
                <a:lnTo>
                  <a:pt x="784553" y="18649"/>
                </a:lnTo>
                <a:lnTo>
                  <a:pt x="831215" y="10574"/>
                </a:lnTo>
                <a:lnTo>
                  <a:pt x="878607" y="4736"/>
                </a:lnTo>
                <a:lnTo>
                  <a:pt x="926674" y="1193"/>
                </a:lnTo>
                <a:lnTo>
                  <a:pt x="975360" y="0"/>
                </a:lnTo>
                <a:lnTo>
                  <a:pt x="1024045" y="1193"/>
                </a:lnTo>
                <a:lnTo>
                  <a:pt x="1072112" y="4736"/>
                </a:lnTo>
                <a:lnTo>
                  <a:pt x="1119504" y="10574"/>
                </a:lnTo>
                <a:lnTo>
                  <a:pt x="1166166" y="18649"/>
                </a:lnTo>
                <a:lnTo>
                  <a:pt x="1212043" y="28907"/>
                </a:lnTo>
                <a:lnTo>
                  <a:pt x="1257077" y="41291"/>
                </a:lnTo>
                <a:lnTo>
                  <a:pt x="1301214" y="55745"/>
                </a:lnTo>
                <a:lnTo>
                  <a:pt x="1344398" y="72214"/>
                </a:lnTo>
                <a:lnTo>
                  <a:pt x="1386572" y="90643"/>
                </a:lnTo>
                <a:lnTo>
                  <a:pt x="1427680" y="110974"/>
                </a:lnTo>
                <a:lnTo>
                  <a:pt x="1467668" y="133152"/>
                </a:lnTo>
                <a:lnTo>
                  <a:pt x="1506479" y="157121"/>
                </a:lnTo>
                <a:lnTo>
                  <a:pt x="1544057" y="182826"/>
                </a:lnTo>
                <a:lnTo>
                  <a:pt x="1580346" y="210211"/>
                </a:lnTo>
                <a:lnTo>
                  <a:pt x="1615291" y="239219"/>
                </a:lnTo>
                <a:lnTo>
                  <a:pt x="1648835" y="269796"/>
                </a:lnTo>
                <a:lnTo>
                  <a:pt x="1680923" y="301884"/>
                </a:lnTo>
                <a:lnTo>
                  <a:pt x="1711500" y="335428"/>
                </a:lnTo>
                <a:lnTo>
                  <a:pt x="1740508" y="370373"/>
                </a:lnTo>
                <a:lnTo>
                  <a:pt x="1767893" y="406662"/>
                </a:lnTo>
                <a:lnTo>
                  <a:pt x="1793598" y="444240"/>
                </a:lnTo>
                <a:lnTo>
                  <a:pt x="1817567" y="483051"/>
                </a:lnTo>
                <a:lnTo>
                  <a:pt x="1839745" y="523039"/>
                </a:lnTo>
                <a:lnTo>
                  <a:pt x="1860076" y="564147"/>
                </a:lnTo>
                <a:lnTo>
                  <a:pt x="1878505" y="606321"/>
                </a:lnTo>
                <a:lnTo>
                  <a:pt x="1894974" y="649505"/>
                </a:lnTo>
                <a:lnTo>
                  <a:pt x="1909428" y="693642"/>
                </a:lnTo>
                <a:lnTo>
                  <a:pt x="1921812" y="738676"/>
                </a:lnTo>
                <a:lnTo>
                  <a:pt x="1932070" y="784553"/>
                </a:lnTo>
                <a:lnTo>
                  <a:pt x="1940145" y="831215"/>
                </a:lnTo>
                <a:lnTo>
                  <a:pt x="1945983" y="878607"/>
                </a:lnTo>
                <a:lnTo>
                  <a:pt x="1949526" y="926674"/>
                </a:lnTo>
                <a:lnTo>
                  <a:pt x="1950720" y="975359"/>
                </a:lnTo>
                <a:lnTo>
                  <a:pt x="1949526" y="1024045"/>
                </a:lnTo>
                <a:lnTo>
                  <a:pt x="1945983" y="1072112"/>
                </a:lnTo>
                <a:lnTo>
                  <a:pt x="1940145" y="1119504"/>
                </a:lnTo>
                <a:lnTo>
                  <a:pt x="1932070" y="1166166"/>
                </a:lnTo>
                <a:lnTo>
                  <a:pt x="1921812" y="1212043"/>
                </a:lnTo>
                <a:lnTo>
                  <a:pt x="1909428" y="1257077"/>
                </a:lnTo>
                <a:lnTo>
                  <a:pt x="1894974" y="1301214"/>
                </a:lnTo>
                <a:lnTo>
                  <a:pt x="1878505" y="1344398"/>
                </a:lnTo>
                <a:lnTo>
                  <a:pt x="1860076" y="1386572"/>
                </a:lnTo>
                <a:lnTo>
                  <a:pt x="1839745" y="1427680"/>
                </a:lnTo>
                <a:lnTo>
                  <a:pt x="1817567" y="1467668"/>
                </a:lnTo>
                <a:lnTo>
                  <a:pt x="1793598" y="1506479"/>
                </a:lnTo>
                <a:lnTo>
                  <a:pt x="1767893" y="1544057"/>
                </a:lnTo>
                <a:lnTo>
                  <a:pt x="1740508" y="1580346"/>
                </a:lnTo>
                <a:lnTo>
                  <a:pt x="1711500" y="1615291"/>
                </a:lnTo>
                <a:lnTo>
                  <a:pt x="1680923" y="1648835"/>
                </a:lnTo>
                <a:lnTo>
                  <a:pt x="1648835" y="1680923"/>
                </a:lnTo>
                <a:lnTo>
                  <a:pt x="1615291" y="1711500"/>
                </a:lnTo>
                <a:lnTo>
                  <a:pt x="1580346" y="1740508"/>
                </a:lnTo>
                <a:lnTo>
                  <a:pt x="1544057" y="1767893"/>
                </a:lnTo>
                <a:lnTo>
                  <a:pt x="1506479" y="1793598"/>
                </a:lnTo>
                <a:lnTo>
                  <a:pt x="1467668" y="1817567"/>
                </a:lnTo>
                <a:lnTo>
                  <a:pt x="1427680" y="1839745"/>
                </a:lnTo>
                <a:lnTo>
                  <a:pt x="1386572" y="1860076"/>
                </a:lnTo>
                <a:lnTo>
                  <a:pt x="1344398" y="1878505"/>
                </a:lnTo>
                <a:lnTo>
                  <a:pt x="1301214" y="1894974"/>
                </a:lnTo>
                <a:lnTo>
                  <a:pt x="1257077" y="1909428"/>
                </a:lnTo>
                <a:lnTo>
                  <a:pt x="1212043" y="1921812"/>
                </a:lnTo>
                <a:lnTo>
                  <a:pt x="1166166" y="1932070"/>
                </a:lnTo>
                <a:lnTo>
                  <a:pt x="1119504" y="1940145"/>
                </a:lnTo>
                <a:lnTo>
                  <a:pt x="1072112" y="1945983"/>
                </a:lnTo>
                <a:lnTo>
                  <a:pt x="1024045" y="1949526"/>
                </a:lnTo>
                <a:lnTo>
                  <a:pt x="975360" y="1950719"/>
                </a:lnTo>
                <a:lnTo>
                  <a:pt x="926674" y="1949526"/>
                </a:lnTo>
                <a:lnTo>
                  <a:pt x="878607" y="1945983"/>
                </a:lnTo>
                <a:lnTo>
                  <a:pt x="831215" y="1940145"/>
                </a:lnTo>
                <a:lnTo>
                  <a:pt x="784553" y="1932070"/>
                </a:lnTo>
                <a:lnTo>
                  <a:pt x="738676" y="1921812"/>
                </a:lnTo>
                <a:lnTo>
                  <a:pt x="693642" y="1909428"/>
                </a:lnTo>
                <a:lnTo>
                  <a:pt x="649505" y="1894974"/>
                </a:lnTo>
                <a:lnTo>
                  <a:pt x="606321" y="1878505"/>
                </a:lnTo>
                <a:lnTo>
                  <a:pt x="564147" y="1860076"/>
                </a:lnTo>
                <a:lnTo>
                  <a:pt x="523039" y="1839745"/>
                </a:lnTo>
                <a:lnTo>
                  <a:pt x="483051" y="1817567"/>
                </a:lnTo>
                <a:lnTo>
                  <a:pt x="444240" y="1793598"/>
                </a:lnTo>
                <a:lnTo>
                  <a:pt x="406662" y="1767893"/>
                </a:lnTo>
                <a:lnTo>
                  <a:pt x="370373" y="1740508"/>
                </a:lnTo>
                <a:lnTo>
                  <a:pt x="335428" y="1711500"/>
                </a:lnTo>
                <a:lnTo>
                  <a:pt x="301884" y="1680923"/>
                </a:lnTo>
                <a:lnTo>
                  <a:pt x="269796" y="1648835"/>
                </a:lnTo>
                <a:lnTo>
                  <a:pt x="239219" y="1615291"/>
                </a:lnTo>
                <a:lnTo>
                  <a:pt x="210211" y="1580346"/>
                </a:lnTo>
                <a:lnTo>
                  <a:pt x="182826" y="1544057"/>
                </a:lnTo>
                <a:lnTo>
                  <a:pt x="157121" y="1506479"/>
                </a:lnTo>
                <a:lnTo>
                  <a:pt x="133152" y="1467668"/>
                </a:lnTo>
                <a:lnTo>
                  <a:pt x="110974" y="1427680"/>
                </a:lnTo>
                <a:lnTo>
                  <a:pt x="90643" y="1386572"/>
                </a:lnTo>
                <a:lnTo>
                  <a:pt x="72214" y="1344398"/>
                </a:lnTo>
                <a:lnTo>
                  <a:pt x="55745" y="1301214"/>
                </a:lnTo>
                <a:lnTo>
                  <a:pt x="41291" y="1257077"/>
                </a:lnTo>
                <a:lnTo>
                  <a:pt x="28907" y="1212043"/>
                </a:lnTo>
                <a:lnTo>
                  <a:pt x="18649" y="1166166"/>
                </a:lnTo>
                <a:lnTo>
                  <a:pt x="10574" y="1119504"/>
                </a:lnTo>
                <a:lnTo>
                  <a:pt x="4736" y="1072112"/>
                </a:lnTo>
                <a:lnTo>
                  <a:pt x="1193" y="1024045"/>
                </a:lnTo>
                <a:lnTo>
                  <a:pt x="0" y="975359"/>
                </a:lnTo>
                <a:close/>
              </a:path>
            </a:pathLst>
          </a:custGeom>
          <a:ln w="12699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object 5">
            <a:extLst>
              <a:ext uri="{FF2B5EF4-FFF2-40B4-BE49-F238E27FC236}">
                <a16:creationId xmlns:a16="http://schemas.microsoft.com/office/drawing/2014/main" id="{FD850856-1C81-4CEC-B587-F117BFAE51B9}"/>
              </a:ext>
            </a:extLst>
          </p:cNvPr>
          <p:cNvSpPr/>
          <p:nvPr userDrawn="1"/>
        </p:nvSpPr>
        <p:spPr>
          <a:xfrm>
            <a:off x="5171325" y="3362166"/>
            <a:ext cx="1843050" cy="2065033"/>
          </a:xfrm>
          <a:custGeom>
            <a:avLst/>
            <a:gdLst/>
            <a:ahLst/>
            <a:cxnLst/>
            <a:rect l="l" t="t" r="r" b="b"/>
            <a:pathLst>
              <a:path w="1602740" h="1795779">
                <a:moveTo>
                  <a:pt x="801369" y="0"/>
                </a:moveTo>
                <a:lnTo>
                  <a:pt x="752551" y="1465"/>
                </a:lnTo>
                <a:lnTo>
                  <a:pt x="704507" y="5804"/>
                </a:lnTo>
                <a:lnTo>
                  <a:pt x="657319" y="12933"/>
                </a:lnTo>
                <a:lnTo>
                  <a:pt x="611074" y="22768"/>
                </a:lnTo>
                <a:lnTo>
                  <a:pt x="565853" y="35226"/>
                </a:lnTo>
                <a:lnTo>
                  <a:pt x="521741" y="50221"/>
                </a:lnTo>
                <a:lnTo>
                  <a:pt x="478822" y="67671"/>
                </a:lnTo>
                <a:lnTo>
                  <a:pt x="437180" y="87490"/>
                </a:lnTo>
                <a:lnTo>
                  <a:pt x="396898" y="109596"/>
                </a:lnTo>
                <a:lnTo>
                  <a:pt x="358060" y="133903"/>
                </a:lnTo>
                <a:lnTo>
                  <a:pt x="320751" y="160329"/>
                </a:lnTo>
                <a:lnTo>
                  <a:pt x="285053" y="188789"/>
                </a:lnTo>
                <a:lnTo>
                  <a:pt x="251050" y="219198"/>
                </a:lnTo>
                <a:lnTo>
                  <a:pt x="218828" y="251474"/>
                </a:lnTo>
                <a:lnTo>
                  <a:pt x="188468" y="285532"/>
                </a:lnTo>
                <a:lnTo>
                  <a:pt x="160056" y="321287"/>
                </a:lnTo>
                <a:lnTo>
                  <a:pt x="133674" y="358657"/>
                </a:lnTo>
                <a:lnTo>
                  <a:pt x="109408" y="397557"/>
                </a:lnTo>
                <a:lnTo>
                  <a:pt x="87339" y="437902"/>
                </a:lnTo>
                <a:lnTo>
                  <a:pt x="67554" y="479610"/>
                </a:lnTo>
                <a:lnTo>
                  <a:pt x="50134" y="522595"/>
                </a:lnTo>
                <a:lnTo>
                  <a:pt x="35164" y="566774"/>
                </a:lnTo>
                <a:lnTo>
                  <a:pt x="22729" y="612063"/>
                </a:lnTo>
                <a:lnTo>
                  <a:pt x="12910" y="658379"/>
                </a:lnTo>
                <a:lnTo>
                  <a:pt x="5794" y="705636"/>
                </a:lnTo>
                <a:lnTo>
                  <a:pt x="1462" y="753751"/>
                </a:lnTo>
                <a:lnTo>
                  <a:pt x="0" y="802639"/>
                </a:lnTo>
                <a:lnTo>
                  <a:pt x="1746" y="856066"/>
                </a:lnTo>
                <a:lnTo>
                  <a:pt x="6914" y="908558"/>
                </a:lnTo>
                <a:lnTo>
                  <a:pt x="15394" y="960004"/>
                </a:lnTo>
                <a:lnTo>
                  <a:pt x="27076" y="1010295"/>
                </a:lnTo>
                <a:lnTo>
                  <a:pt x="41852" y="1059320"/>
                </a:lnTo>
                <a:lnTo>
                  <a:pt x="59612" y="1106967"/>
                </a:lnTo>
                <a:lnTo>
                  <a:pt x="80248" y="1153128"/>
                </a:lnTo>
                <a:lnTo>
                  <a:pt x="103649" y="1197690"/>
                </a:lnTo>
                <a:lnTo>
                  <a:pt x="129708" y="1240544"/>
                </a:lnTo>
                <a:lnTo>
                  <a:pt x="158314" y="1281579"/>
                </a:lnTo>
                <a:lnTo>
                  <a:pt x="189360" y="1320685"/>
                </a:lnTo>
                <a:lnTo>
                  <a:pt x="222735" y="1357751"/>
                </a:lnTo>
                <a:lnTo>
                  <a:pt x="258330" y="1392666"/>
                </a:lnTo>
                <a:lnTo>
                  <a:pt x="296037" y="1425320"/>
                </a:lnTo>
                <a:lnTo>
                  <a:pt x="319385" y="1448849"/>
                </a:lnTo>
                <a:lnTo>
                  <a:pt x="337565" y="1465818"/>
                </a:lnTo>
                <a:lnTo>
                  <a:pt x="353567" y="1479550"/>
                </a:lnTo>
                <a:lnTo>
                  <a:pt x="426384" y="1570591"/>
                </a:lnTo>
                <a:lnTo>
                  <a:pt x="470804" y="1674669"/>
                </a:lnTo>
                <a:lnTo>
                  <a:pt x="492960" y="1760245"/>
                </a:lnTo>
                <a:lnTo>
                  <a:pt x="498982" y="1795780"/>
                </a:lnTo>
                <a:lnTo>
                  <a:pt x="1118869" y="1795780"/>
                </a:lnTo>
                <a:lnTo>
                  <a:pt x="1136844" y="1674707"/>
                </a:lnTo>
                <a:lnTo>
                  <a:pt x="1173416" y="1586531"/>
                </a:lnTo>
                <a:lnTo>
                  <a:pt x="1209417" y="1532622"/>
                </a:lnTo>
                <a:lnTo>
                  <a:pt x="1266665" y="1479609"/>
                </a:lnTo>
                <a:lnTo>
                  <a:pt x="1304228" y="1444987"/>
                </a:lnTo>
                <a:lnTo>
                  <a:pt x="1338504" y="1410627"/>
                </a:lnTo>
                <a:lnTo>
                  <a:pt x="1369636" y="1376675"/>
                </a:lnTo>
                <a:lnTo>
                  <a:pt x="1397761" y="1343279"/>
                </a:lnTo>
                <a:lnTo>
                  <a:pt x="1394840" y="1340612"/>
                </a:lnTo>
                <a:lnTo>
                  <a:pt x="1426117" y="1304211"/>
                </a:lnTo>
                <a:lnTo>
                  <a:pt x="1455175" y="1265943"/>
                </a:lnTo>
                <a:lnTo>
                  <a:pt x="1481921" y="1225907"/>
                </a:lnTo>
                <a:lnTo>
                  <a:pt x="1506257" y="1184204"/>
                </a:lnTo>
                <a:lnTo>
                  <a:pt x="1528089" y="1140935"/>
                </a:lnTo>
                <a:lnTo>
                  <a:pt x="1547320" y="1096200"/>
                </a:lnTo>
                <a:lnTo>
                  <a:pt x="1563855" y="1050100"/>
                </a:lnTo>
                <a:lnTo>
                  <a:pt x="1577598" y="1002735"/>
                </a:lnTo>
                <a:lnTo>
                  <a:pt x="1588454" y="954206"/>
                </a:lnTo>
                <a:lnTo>
                  <a:pt x="1596327" y="904613"/>
                </a:lnTo>
                <a:lnTo>
                  <a:pt x="1601120" y="854058"/>
                </a:lnTo>
                <a:lnTo>
                  <a:pt x="1602739" y="802639"/>
                </a:lnTo>
                <a:lnTo>
                  <a:pt x="1601277" y="753751"/>
                </a:lnTo>
                <a:lnTo>
                  <a:pt x="1596945" y="705636"/>
                </a:lnTo>
                <a:lnTo>
                  <a:pt x="1589829" y="658379"/>
                </a:lnTo>
                <a:lnTo>
                  <a:pt x="1580010" y="612063"/>
                </a:lnTo>
                <a:lnTo>
                  <a:pt x="1567575" y="566774"/>
                </a:lnTo>
                <a:lnTo>
                  <a:pt x="1552605" y="522595"/>
                </a:lnTo>
                <a:lnTo>
                  <a:pt x="1535185" y="479610"/>
                </a:lnTo>
                <a:lnTo>
                  <a:pt x="1515400" y="437902"/>
                </a:lnTo>
                <a:lnTo>
                  <a:pt x="1493331" y="397557"/>
                </a:lnTo>
                <a:lnTo>
                  <a:pt x="1469065" y="358657"/>
                </a:lnTo>
                <a:lnTo>
                  <a:pt x="1442683" y="321287"/>
                </a:lnTo>
                <a:lnTo>
                  <a:pt x="1414271" y="285532"/>
                </a:lnTo>
                <a:lnTo>
                  <a:pt x="1383911" y="251474"/>
                </a:lnTo>
                <a:lnTo>
                  <a:pt x="1351689" y="219198"/>
                </a:lnTo>
                <a:lnTo>
                  <a:pt x="1317686" y="188789"/>
                </a:lnTo>
                <a:lnTo>
                  <a:pt x="1281988" y="160329"/>
                </a:lnTo>
                <a:lnTo>
                  <a:pt x="1244679" y="133903"/>
                </a:lnTo>
                <a:lnTo>
                  <a:pt x="1205841" y="109596"/>
                </a:lnTo>
                <a:lnTo>
                  <a:pt x="1165559" y="87490"/>
                </a:lnTo>
                <a:lnTo>
                  <a:pt x="1123917" y="67671"/>
                </a:lnTo>
                <a:lnTo>
                  <a:pt x="1080998" y="50221"/>
                </a:lnTo>
                <a:lnTo>
                  <a:pt x="1036886" y="35226"/>
                </a:lnTo>
                <a:lnTo>
                  <a:pt x="991665" y="22768"/>
                </a:lnTo>
                <a:lnTo>
                  <a:pt x="945420" y="12933"/>
                </a:lnTo>
                <a:lnTo>
                  <a:pt x="898232" y="5804"/>
                </a:lnTo>
                <a:lnTo>
                  <a:pt x="850188" y="1465"/>
                </a:lnTo>
                <a:lnTo>
                  <a:pt x="801369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5" name="object 6">
            <a:extLst>
              <a:ext uri="{FF2B5EF4-FFF2-40B4-BE49-F238E27FC236}">
                <a16:creationId xmlns:a16="http://schemas.microsoft.com/office/drawing/2014/main" id="{83443862-C9D4-479A-97A5-E3A06AACF8CC}"/>
              </a:ext>
            </a:extLst>
          </p:cNvPr>
          <p:cNvSpPr/>
          <p:nvPr userDrawn="1"/>
        </p:nvSpPr>
        <p:spPr>
          <a:xfrm>
            <a:off x="5737967" y="5459328"/>
            <a:ext cx="724368" cy="747735"/>
          </a:xfrm>
          <a:custGeom>
            <a:avLst/>
            <a:gdLst/>
            <a:ahLst/>
            <a:cxnLst/>
            <a:rect l="l" t="t" r="r" b="b"/>
            <a:pathLst>
              <a:path w="629920" h="650239">
                <a:moveTo>
                  <a:pt x="574040" y="546100"/>
                </a:moveTo>
                <a:lnTo>
                  <a:pt x="43180" y="546100"/>
                </a:lnTo>
                <a:lnTo>
                  <a:pt x="73672" y="581253"/>
                </a:lnTo>
                <a:lnTo>
                  <a:pt x="110134" y="610120"/>
                </a:lnTo>
                <a:lnTo>
                  <a:pt x="151638" y="631825"/>
                </a:lnTo>
                <a:lnTo>
                  <a:pt x="197281" y="645490"/>
                </a:lnTo>
                <a:lnTo>
                  <a:pt x="246126" y="650240"/>
                </a:lnTo>
                <a:lnTo>
                  <a:pt x="371094" y="650240"/>
                </a:lnTo>
                <a:lnTo>
                  <a:pt x="419925" y="645490"/>
                </a:lnTo>
                <a:lnTo>
                  <a:pt x="465569" y="631825"/>
                </a:lnTo>
                <a:lnTo>
                  <a:pt x="507072" y="610120"/>
                </a:lnTo>
                <a:lnTo>
                  <a:pt x="543534" y="581253"/>
                </a:lnTo>
                <a:lnTo>
                  <a:pt x="574040" y="546100"/>
                </a:lnTo>
                <a:close/>
              </a:path>
              <a:path w="629920" h="650239">
                <a:moveTo>
                  <a:pt x="629920" y="389572"/>
                </a:moveTo>
                <a:lnTo>
                  <a:pt x="4318" y="439915"/>
                </a:lnTo>
                <a:lnTo>
                  <a:pt x="7366" y="462102"/>
                </a:lnTo>
                <a:lnTo>
                  <a:pt x="12954" y="483438"/>
                </a:lnTo>
                <a:lnTo>
                  <a:pt x="20815" y="503847"/>
                </a:lnTo>
                <a:lnTo>
                  <a:pt x="30734" y="523240"/>
                </a:lnTo>
                <a:lnTo>
                  <a:pt x="599186" y="523240"/>
                </a:lnTo>
                <a:lnTo>
                  <a:pt x="612394" y="496239"/>
                </a:lnTo>
                <a:lnTo>
                  <a:pt x="622020" y="467423"/>
                </a:lnTo>
                <a:lnTo>
                  <a:pt x="627913" y="437108"/>
                </a:lnTo>
                <a:lnTo>
                  <a:pt x="629920" y="405549"/>
                </a:lnTo>
                <a:lnTo>
                  <a:pt x="629920" y="389572"/>
                </a:lnTo>
                <a:close/>
              </a:path>
              <a:path w="629920" h="650239">
                <a:moveTo>
                  <a:pt x="629920" y="261886"/>
                </a:moveTo>
                <a:lnTo>
                  <a:pt x="0" y="312585"/>
                </a:lnTo>
                <a:lnTo>
                  <a:pt x="0" y="409638"/>
                </a:lnTo>
                <a:lnTo>
                  <a:pt x="762" y="411645"/>
                </a:lnTo>
                <a:lnTo>
                  <a:pt x="629920" y="361010"/>
                </a:lnTo>
                <a:lnTo>
                  <a:pt x="629920" y="261886"/>
                </a:lnTo>
                <a:close/>
              </a:path>
              <a:path w="629920" h="650239">
                <a:moveTo>
                  <a:pt x="629920" y="127762"/>
                </a:moveTo>
                <a:lnTo>
                  <a:pt x="0" y="178435"/>
                </a:lnTo>
                <a:lnTo>
                  <a:pt x="0" y="284022"/>
                </a:lnTo>
                <a:lnTo>
                  <a:pt x="629920" y="233299"/>
                </a:lnTo>
                <a:lnTo>
                  <a:pt x="629920" y="127762"/>
                </a:lnTo>
                <a:close/>
              </a:path>
              <a:path w="629920" h="650239">
                <a:moveTo>
                  <a:pt x="629920" y="0"/>
                </a:moveTo>
                <a:lnTo>
                  <a:pt x="0" y="0"/>
                </a:lnTo>
                <a:lnTo>
                  <a:pt x="0" y="149860"/>
                </a:lnTo>
                <a:lnTo>
                  <a:pt x="629920" y="99187"/>
                </a:lnTo>
                <a:lnTo>
                  <a:pt x="62992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6" name="object 7">
            <a:extLst>
              <a:ext uri="{FF2B5EF4-FFF2-40B4-BE49-F238E27FC236}">
                <a16:creationId xmlns:a16="http://schemas.microsoft.com/office/drawing/2014/main" id="{5E218379-D481-4B39-953B-21A7C5120908}"/>
              </a:ext>
            </a:extLst>
          </p:cNvPr>
          <p:cNvSpPr/>
          <p:nvPr userDrawn="1"/>
        </p:nvSpPr>
        <p:spPr>
          <a:xfrm>
            <a:off x="5787622" y="4401984"/>
            <a:ext cx="595121" cy="1034706"/>
          </a:xfrm>
          <a:custGeom>
            <a:avLst/>
            <a:gdLst/>
            <a:ahLst/>
            <a:cxnLst/>
            <a:rect l="l" t="t" r="r" b="b"/>
            <a:pathLst>
              <a:path w="517525" h="899795">
                <a:moveTo>
                  <a:pt x="0" y="0"/>
                </a:moveTo>
                <a:lnTo>
                  <a:pt x="160781" y="891921"/>
                </a:lnTo>
              </a:path>
              <a:path w="517525" h="899795">
                <a:moveTo>
                  <a:pt x="517525" y="0"/>
                </a:moveTo>
                <a:lnTo>
                  <a:pt x="365760" y="899541"/>
                </a:lnTo>
              </a:path>
              <a:path w="517525" h="899795">
                <a:moveTo>
                  <a:pt x="0" y="0"/>
                </a:moveTo>
                <a:lnTo>
                  <a:pt x="515874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5" name="object 8">
            <a:extLst>
              <a:ext uri="{FF2B5EF4-FFF2-40B4-BE49-F238E27FC236}">
                <a16:creationId xmlns:a16="http://schemas.microsoft.com/office/drawing/2014/main" id="{248865C8-5A5A-42B3-9051-A7C9321FF0A6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5913218" y="4273468"/>
            <a:ext cx="84704" cy="262876"/>
          </a:xfrm>
          <a:prstGeom prst="rect">
            <a:avLst/>
          </a:prstGeom>
        </p:spPr>
      </p:pic>
      <p:pic>
        <p:nvPicPr>
          <p:cNvPr id="67" name="object 9">
            <a:extLst>
              <a:ext uri="{FF2B5EF4-FFF2-40B4-BE49-F238E27FC236}">
                <a16:creationId xmlns:a16="http://schemas.microsoft.com/office/drawing/2014/main" id="{CEC62053-1FF3-4C9B-994B-A6F41817C843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053418" y="4273468"/>
            <a:ext cx="84704" cy="262876"/>
          </a:xfrm>
          <a:prstGeom prst="rect">
            <a:avLst/>
          </a:prstGeom>
        </p:spPr>
      </p:pic>
      <p:pic>
        <p:nvPicPr>
          <p:cNvPr id="69" name="object 10">
            <a:extLst>
              <a:ext uri="{FF2B5EF4-FFF2-40B4-BE49-F238E27FC236}">
                <a16:creationId xmlns:a16="http://schemas.microsoft.com/office/drawing/2014/main" id="{A8C8E5FE-63EC-48AE-A020-DFE0869CCB1A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190698" y="4273468"/>
            <a:ext cx="84704" cy="262876"/>
          </a:xfrm>
          <a:prstGeom prst="rect">
            <a:avLst/>
          </a:prstGeom>
        </p:spPr>
      </p:pic>
      <p:sp>
        <p:nvSpPr>
          <p:cNvPr id="77" name="Oval 76">
            <a:extLst>
              <a:ext uri="{FF2B5EF4-FFF2-40B4-BE49-F238E27FC236}">
                <a16:creationId xmlns:a16="http://schemas.microsoft.com/office/drawing/2014/main" id="{04BE6B66-814C-4D66-BF95-FBC68BE314DE}"/>
              </a:ext>
            </a:extLst>
          </p:cNvPr>
          <p:cNvSpPr/>
          <p:nvPr userDrawn="1"/>
        </p:nvSpPr>
        <p:spPr>
          <a:xfrm>
            <a:off x="7312744" y="2692784"/>
            <a:ext cx="695149" cy="695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B45A1EE5-744C-4BF5-8EA7-AD411B0D31EE}"/>
              </a:ext>
            </a:extLst>
          </p:cNvPr>
          <p:cNvSpPr/>
          <p:nvPr userDrawn="1"/>
        </p:nvSpPr>
        <p:spPr>
          <a:xfrm>
            <a:off x="4170124" y="2692784"/>
            <a:ext cx="695149" cy="695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667AD34-E888-4937-9EF6-EFB96709DDE4}"/>
              </a:ext>
            </a:extLst>
          </p:cNvPr>
          <p:cNvSpPr/>
          <p:nvPr userDrawn="1"/>
        </p:nvSpPr>
        <p:spPr>
          <a:xfrm>
            <a:off x="7716846" y="3917135"/>
            <a:ext cx="695149" cy="695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7172049B-6EB7-46BE-9522-2D75DA2AADCB}"/>
              </a:ext>
            </a:extLst>
          </p:cNvPr>
          <p:cNvSpPr/>
          <p:nvPr userDrawn="1"/>
        </p:nvSpPr>
        <p:spPr>
          <a:xfrm>
            <a:off x="7132650" y="4192109"/>
            <a:ext cx="151920" cy="1519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9B9C7DB-8F86-4AF3-8AF2-95269EE2B5D3}"/>
              </a:ext>
            </a:extLst>
          </p:cNvPr>
          <p:cNvSpPr/>
          <p:nvPr userDrawn="1"/>
        </p:nvSpPr>
        <p:spPr>
          <a:xfrm>
            <a:off x="6871864" y="3455087"/>
            <a:ext cx="151920" cy="1519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85BB1AC-0B9A-451D-A681-DB958611A62A}"/>
              </a:ext>
            </a:extLst>
          </p:cNvPr>
          <p:cNvSpPr/>
          <p:nvPr userDrawn="1"/>
        </p:nvSpPr>
        <p:spPr>
          <a:xfrm>
            <a:off x="6014422" y="3081752"/>
            <a:ext cx="151920" cy="1519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3D4DF6F-B0BF-413D-974A-D2BF27201137}"/>
              </a:ext>
            </a:extLst>
          </p:cNvPr>
          <p:cNvSpPr/>
          <p:nvPr userDrawn="1"/>
        </p:nvSpPr>
        <p:spPr>
          <a:xfrm>
            <a:off x="5179108" y="3455087"/>
            <a:ext cx="151920" cy="1519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264D30E7-1430-4F98-B3DD-4473D312FFB0}"/>
              </a:ext>
            </a:extLst>
          </p:cNvPr>
          <p:cNvSpPr/>
          <p:nvPr userDrawn="1"/>
        </p:nvSpPr>
        <p:spPr>
          <a:xfrm>
            <a:off x="4897728" y="4192109"/>
            <a:ext cx="151920" cy="1519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A9A8386-C007-4554-AE3B-161DA0C4E9FB}"/>
              </a:ext>
            </a:extLst>
          </p:cNvPr>
          <p:cNvSpPr/>
          <p:nvPr userDrawn="1"/>
        </p:nvSpPr>
        <p:spPr>
          <a:xfrm>
            <a:off x="3780005" y="3917135"/>
            <a:ext cx="695149" cy="695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C798EC0F-775C-4C50-945A-60B6CA968348}"/>
              </a:ext>
            </a:extLst>
          </p:cNvPr>
          <p:cNvSpPr/>
          <p:nvPr userDrawn="1"/>
        </p:nvSpPr>
        <p:spPr>
          <a:xfrm>
            <a:off x="5742353" y="2136878"/>
            <a:ext cx="695149" cy="695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74CF505E-C11C-46C2-8CBF-5C33C7DFAA6B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591550" y="3884785"/>
            <a:ext cx="32067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42EF56D-C7B3-446B-8AE4-1799BFB80962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91550" y="4192109"/>
            <a:ext cx="3206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B1FE435A-9175-4B47-B2DF-98E5EDD5592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243648" y="2653246"/>
            <a:ext cx="32067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2B3C4D6B-203E-4D0D-AC9E-BBEA3CD4FFE5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8243648" y="2960570"/>
            <a:ext cx="3206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A12753EF-3600-4941-A46E-A31F4AA3C480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740840" y="2653246"/>
            <a:ext cx="32067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EABAB742-3504-45D2-92C7-609C1521D18E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740840" y="2960570"/>
            <a:ext cx="3206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E011FEE1-EBBA-4236-9E79-5133BB2CFD6B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4486553" y="1245733"/>
            <a:ext cx="32067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2" name="Text Placeholder 17">
            <a:extLst>
              <a:ext uri="{FF2B5EF4-FFF2-40B4-BE49-F238E27FC236}">
                <a16:creationId xmlns:a16="http://schemas.microsoft.com/office/drawing/2014/main" id="{2092D73C-ED7D-4CE3-B21C-AD59724C131F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486553" y="1553057"/>
            <a:ext cx="320675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pic>
        <p:nvPicPr>
          <p:cNvPr id="35" name="Picture 34" descr="darkest-green-horz.png">
            <a:extLst>
              <a:ext uri="{FF2B5EF4-FFF2-40B4-BE49-F238E27FC236}">
                <a16:creationId xmlns:a16="http://schemas.microsoft.com/office/drawing/2014/main" id="{136D6580-0D38-41F8-89B2-F97F4C47F51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838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Teamwor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D6BFB4C-2222-4C76-81D9-6A5AF3532AA3}"/>
              </a:ext>
            </a:extLst>
          </p:cNvPr>
          <p:cNvSpPr/>
          <p:nvPr userDrawn="1"/>
        </p:nvSpPr>
        <p:spPr>
          <a:xfrm rot="18900000">
            <a:off x="4037679" y="3655115"/>
            <a:ext cx="2258123" cy="1817597"/>
          </a:xfrm>
          <a:custGeom>
            <a:avLst/>
            <a:gdLst>
              <a:gd name="connsiteX0" fmla="*/ 1922010 w 2092751"/>
              <a:gd name="connsiteY0" fmla="*/ 670688 h 1684487"/>
              <a:gd name="connsiteX1" fmla="*/ 2092751 w 2092751"/>
              <a:gd name="connsiteY1" fmla="*/ 670688 h 1684487"/>
              <a:gd name="connsiteX2" fmla="*/ 2092751 w 2092751"/>
              <a:gd name="connsiteY2" fmla="*/ 1013798 h 1684487"/>
              <a:gd name="connsiteX3" fmla="*/ 2092751 w 2092751"/>
              <a:gd name="connsiteY3" fmla="*/ 1184540 h 1684487"/>
              <a:gd name="connsiteX4" fmla="*/ 2092751 w 2092751"/>
              <a:gd name="connsiteY4" fmla="*/ 1403734 h 1684487"/>
              <a:gd name="connsiteX5" fmla="*/ 1811998 w 2092751"/>
              <a:gd name="connsiteY5" fmla="*/ 1684487 h 1684487"/>
              <a:gd name="connsiteX6" fmla="*/ 1619295 w 2092751"/>
              <a:gd name="connsiteY6" fmla="*/ 1684487 h 1684487"/>
              <a:gd name="connsiteX7" fmla="*/ 1619295 w 2092751"/>
              <a:gd name="connsiteY7" fmla="*/ 1499065 h 1684487"/>
              <a:gd name="connsiteX8" fmla="*/ 1760221 w 2092751"/>
              <a:gd name="connsiteY8" fmla="*/ 1499065 h 1684487"/>
              <a:gd name="connsiteX9" fmla="*/ 1922010 w 2092751"/>
              <a:gd name="connsiteY9" fmla="*/ 1337276 h 1684487"/>
              <a:gd name="connsiteX10" fmla="*/ 1922010 w 2092751"/>
              <a:gd name="connsiteY10" fmla="*/ 1184540 h 1684487"/>
              <a:gd name="connsiteX11" fmla="*/ 1922010 w 2092751"/>
              <a:gd name="connsiteY11" fmla="*/ 1013798 h 1684487"/>
              <a:gd name="connsiteX12" fmla="*/ 671249 w 2092751"/>
              <a:gd name="connsiteY12" fmla="*/ 0 h 1684487"/>
              <a:gd name="connsiteX13" fmla="*/ 1433874 w 2092751"/>
              <a:gd name="connsiteY13" fmla="*/ 0 h 1684487"/>
              <a:gd name="connsiteX14" fmla="*/ 1619295 w 2092751"/>
              <a:gd name="connsiteY14" fmla="*/ 0 h 1684487"/>
              <a:gd name="connsiteX15" fmla="*/ 1811998 w 2092751"/>
              <a:gd name="connsiteY15" fmla="*/ 0 h 1684487"/>
              <a:gd name="connsiteX16" fmla="*/ 2092751 w 2092751"/>
              <a:gd name="connsiteY16" fmla="*/ 280753 h 1684487"/>
              <a:gd name="connsiteX17" fmla="*/ 2092751 w 2092751"/>
              <a:gd name="connsiteY17" fmla="*/ 499946 h 1684487"/>
              <a:gd name="connsiteX18" fmla="*/ 1922010 w 2092751"/>
              <a:gd name="connsiteY18" fmla="*/ 499946 h 1684487"/>
              <a:gd name="connsiteX19" fmla="*/ 1922010 w 2092751"/>
              <a:gd name="connsiteY19" fmla="*/ 347209 h 1684487"/>
              <a:gd name="connsiteX20" fmla="*/ 1760221 w 2092751"/>
              <a:gd name="connsiteY20" fmla="*/ 185420 h 1684487"/>
              <a:gd name="connsiteX21" fmla="*/ 1619295 w 2092751"/>
              <a:gd name="connsiteY21" fmla="*/ 185420 h 1684487"/>
              <a:gd name="connsiteX22" fmla="*/ 1433874 w 2092751"/>
              <a:gd name="connsiteY22" fmla="*/ 185420 h 1684487"/>
              <a:gd name="connsiteX23" fmla="*/ 723027 w 2092751"/>
              <a:gd name="connsiteY23" fmla="*/ 185420 h 1684487"/>
              <a:gd name="connsiteX24" fmla="*/ 561238 w 2092751"/>
              <a:gd name="connsiteY24" fmla="*/ 347209 h 1684487"/>
              <a:gd name="connsiteX25" fmla="*/ 561238 w 2092751"/>
              <a:gd name="connsiteY25" fmla="*/ 426798 h 1684487"/>
              <a:gd name="connsiteX26" fmla="*/ 605613 w 2092751"/>
              <a:gd name="connsiteY26" fmla="*/ 440572 h 1684487"/>
              <a:gd name="connsiteX27" fmla="*/ 871858 w 2092751"/>
              <a:gd name="connsiteY27" fmla="*/ 842244 h 1684487"/>
              <a:gd name="connsiteX28" fmla="*/ 605613 w 2092751"/>
              <a:gd name="connsiteY28" fmla="*/ 1243915 h 1684487"/>
              <a:gd name="connsiteX29" fmla="*/ 561238 w 2092751"/>
              <a:gd name="connsiteY29" fmla="*/ 1257690 h 1684487"/>
              <a:gd name="connsiteX30" fmla="*/ 561238 w 2092751"/>
              <a:gd name="connsiteY30" fmla="*/ 1337276 h 1684487"/>
              <a:gd name="connsiteX31" fmla="*/ 723027 w 2092751"/>
              <a:gd name="connsiteY31" fmla="*/ 1499065 h 1684487"/>
              <a:gd name="connsiteX32" fmla="*/ 1433874 w 2092751"/>
              <a:gd name="connsiteY32" fmla="*/ 1499065 h 1684487"/>
              <a:gd name="connsiteX33" fmla="*/ 1433874 w 2092751"/>
              <a:gd name="connsiteY33" fmla="*/ 1684487 h 1684487"/>
              <a:gd name="connsiteX34" fmla="*/ 671249 w 2092751"/>
              <a:gd name="connsiteY34" fmla="*/ 1684487 h 1684487"/>
              <a:gd name="connsiteX35" fmla="*/ 390496 w 2092751"/>
              <a:gd name="connsiteY35" fmla="*/ 1403734 h 1684487"/>
              <a:gd name="connsiteX36" fmla="*/ 390496 w 2092751"/>
              <a:gd name="connsiteY36" fmla="*/ 1273593 h 1684487"/>
              <a:gd name="connsiteX37" fmla="*/ 348074 w 2092751"/>
              <a:gd name="connsiteY37" fmla="*/ 1269316 h 1684487"/>
              <a:gd name="connsiteX38" fmla="*/ 0 w 2092751"/>
              <a:gd name="connsiteY38" fmla="*/ 842244 h 1684487"/>
              <a:gd name="connsiteX39" fmla="*/ 348074 w 2092751"/>
              <a:gd name="connsiteY39" fmla="*/ 415171 h 1684487"/>
              <a:gd name="connsiteX40" fmla="*/ 390496 w 2092751"/>
              <a:gd name="connsiteY40" fmla="*/ 410895 h 1684487"/>
              <a:gd name="connsiteX41" fmla="*/ 390496 w 2092751"/>
              <a:gd name="connsiteY41" fmla="*/ 280753 h 1684487"/>
              <a:gd name="connsiteX42" fmla="*/ 671249 w 2092751"/>
              <a:gd name="connsiteY42" fmla="*/ 0 h 168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092751" h="1684487">
                <a:moveTo>
                  <a:pt x="1922010" y="670688"/>
                </a:moveTo>
                <a:lnTo>
                  <a:pt x="2092751" y="670688"/>
                </a:lnTo>
                <a:lnTo>
                  <a:pt x="2092751" y="1013798"/>
                </a:lnTo>
                <a:lnTo>
                  <a:pt x="2092751" y="1184540"/>
                </a:lnTo>
                <a:lnTo>
                  <a:pt x="2092751" y="1403734"/>
                </a:lnTo>
                <a:cubicBezTo>
                  <a:pt x="2092751" y="1558790"/>
                  <a:pt x="1967054" y="1684487"/>
                  <a:pt x="1811998" y="1684487"/>
                </a:cubicBezTo>
                <a:lnTo>
                  <a:pt x="1619295" y="1684487"/>
                </a:lnTo>
                <a:lnTo>
                  <a:pt x="1619295" y="1499065"/>
                </a:lnTo>
                <a:lnTo>
                  <a:pt x="1760221" y="1499065"/>
                </a:lnTo>
                <a:cubicBezTo>
                  <a:pt x="1849575" y="1499065"/>
                  <a:pt x="1922010" y="1426630"/>
                  <a:pt x="1922010" y="1337276"/>
                </a:cubicBezTo>
                <a:lnTo>
                  <a:pt x="1922010" y="1184540"/>
                </a:lnTo>
                <a:lnTo>
                  <a:pt x="1922010" y="1013798"/>
                </a:lnTo>
                <a:close/>
                <a:moveTo>
                  <a:pt x="671249" y="0"/>
                </a:moveTo>
                <a:lnTo>
                  <a:pt x="1433874" y="0"/>
                </a:lnTo>
                <a:lnTo>
                  <a:pt x="1619295" y="0"/>
                </a:lnTo>
                <a:lnTo>
                  <a:pt x="1811998" y="0"/>
                </a:lnTo>
                <a:cubicBezTo>
                  <a:pt x="1967054" y="0"/>
                  <a:pt x="2092751" y="125697"/>
                  <a:pt x="2092751" y="280753"/>
                </a:cubicBezTo>
                <a:lnTo>
                  <a:pt x="2092751" y="499946"/>
                </a:lnTo>
                <a:lnTo>
                  <a:pt x="1922010" y="499946"/>
                </a:lnTo>
                <a:lnTo>
                  <a:pt x="1922010" y="347209"/>
                </a:lnTo>
                <a:cubicBezTo>
                  <a:pt x="1922010" y="257855"/>
                  <a:pt x="1849575" y="185420"/>
                  <a:pt x="1760221" y="185420"/>
                </a:cubicBezTo>
                <a:lnTo>
                  <a:pt x="1619295" y="185420"/>
                </a:lnTo>
                <a:lnTo>
                  <a:pt x="1433874" y="185420"/>
                </a:lnTo>
                <a:lnTo>
                  <a:pt x="723027" y="185420"/>
                </a:lnTo>
                <a:cubicBezTo>
                  <a:pt x="633673" y="185420"/>
                  <a:pt x="561238" y="257855"/>
                  <a:pt x="561238" y="347209"/>
                </a:cubicBezTo>
                <a:lnTo>
                  <a:pt x="561238" y="426798"/>
                </a:lnTo>
                <a:lnTo>
                  <a:pt x="605613" y="440572"/>
                </a:lnTo>
                <a:cubicBezTo>
                  <a:pt x="762074" y="506750"/>
                  <a:pt x="871858" y="661676"/>
                  <a:pt x="871858" y="842244"/>
                </a:cubicBezTo>
                <a:cubicBezTo>
                  <a:pt x="871858" y="1022812"/>
                  <a:pt x="762074" y="1177738"/>
                  <a:pt x="605613" y="1243915"/>
                </a:cubicBezTo>
                <a:lnTo>
                  <a:pt x="561238" y="1257690"/>
                </a:lnTo>
                <a:lnTo>
                  <a:pt x="561238" y="1337276"/>
                </a:lnTo>
                <a:cubicBezTo>
                  <a:pt x="561238" y="1426630"/>
                  <a:pt x="633673" y="1499065"/>
                  <a:pt x="723027" y="1499065"/>
                </a:cubicBezTo>
                <a:lnTo>
                  <a:pt x="1433874" y="1499065"/>
                </a:lnTo>
                <a:lnTo>
                  <a:pt x="1433874" y="1684487"/>
                </a:lnTo>
                <a:lnTo>
                  <a:pt x="671249" y="1684487"/>
                </a:lnTo>
                <a:cubicBezTo>
                  <a:pt x="516193" y="1684487"/>
                  <a:pt x="390496" y="1558790"/>
                  <a:pt x="390496" y="1403734"/>
                </a:cubicBezTo>
                <a:lnTo>
                  <a:pt x="390496" y="1273593"/>
                </a:lnTo>
                <a:lnTo>
                  <a:pt x="348074" y="1269316"/>
                </a:lnTo>
                <a:cubicBezTo>
                  <a:pt x="149429" y="1228668"/>
                  <a:pt x="0" y="1052906"/>
                  <a:pt x="0" y="842244"/>
                </a:cubicBezTo>
                <a:cubicBezTo>
                  <a:pt x="0" y="631582"/>
                  <a:pt x="149429" y="455820"/>
                  <a:pt x="348074" y="415171"/>
                </a:cubicBezTo>
                <a:lnTo>
                  <a:pt x="390496" y="410895"/>
                </a:lnTo>
                <a:lnTo>
                  <a:pt x="390496" y="280753"/>
                </a:lnTo>
                <a:cubicBezTo>
                  <a:pt x="390496" y="125697"/>
                  <a:pt x="516193" y="0"/>
                  <a:pt x="67124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88C8515-2E54-42F1-BBDF-CDF784D167C1}"/>
              </a:ext>
            </a:extLst>
          </p:cNvPr>
          <p:cNvSpPr/>
          <p:nvPr userDrawn="1"/>
        </p:nvSpPr>
        <p:spPr>
          <a:xfrm rot="18900000">
            <a:off x="4266954" y="1567319"/>
            <a:ext cx="1817597" cy="2258122"/>
          </a:xfrm>
          <a:custGeom>
            <a:avLst/>
            <a:gdLst>
              <a:gd name="connsiteX0" fmla="*/ 0 w 1684487"/>
              <a:gd name="connsiteY0" fmla="*/ 1607483 h 2092751"/>
              <a:gd name="connsiteX1" fmla="*/ 185421 w 1684487"/>
              <a:gd name="connsiteY1" fmla="*/ 1607483 h 2092751"/>
              <a:gd name="connsiteX2" fmla="*/ 185421 w 1684487"/>
              <a:gd name="connsiteY2" fmla="*/ 1760220 h 2092751"/>
              <a:gd name="connsiteX3" fmla="*/ 347210 w 1684487"/>
              <a:gd name="connsiteY3" fmla="*/ 1922009 h 2092751"/>
              <a:gd name="connsiteX4" fmla="*/ 488136 w 1684487"/>
              <a:gd name="connsiteY4" fmla="*/ 1922009 h 2092751"/>
              <a:gd name="connsiteX5" fmla="*/ 658877 w 1684487"/>
              <a:gd name="connsiteY5" fmla="*/ 1922009 h 2092751"/>
              <a:gd name="connsiteX6" fmla="*/ 1001987 w 1684487"/>
              <a:gd name="connsiteY6" fmla="*/ 1922009 h 2092751"/>
              <a:gd name="connsiteX7" fmla="*/ 1001987 w 1684487"/>
              <a:gd name="connsiteY7" fmla="*/ 2092751 h 2092751"/>
              <a:gd name="connsiteX8" fmla="*/ 658877 w 1684487"/>
              <a:gd name="connsiteY8" fmla="*/ 2092751 h 2092751"/>
              <a:gd name="connsiteX9" fmla="*/ 488136 w 1684487"/>
              <a:gd name="connsiteY9" fmla="*/ 2092751 h 2092751"/>
              <a:gd name="connsiteX10" fmla="*/ 280753 w 1684487"/>
              <a:gd name="connsiteY10" fmla="*/ 2092751 h 2092751"/>
              <a:gd name="connsiteX11" fmla="*/ 0 w 1684487"/>
              <a:gd name="connsiteY11" fmla="*/ 1811998 h 2092751"/>
              <a:gd name="connsiteX12" fmla="*/ 842243 w 1684487"/>
              <a:gd name="connsiteY12" fmla="*/ 0 h 2092751"/>
              <a:gd name="connsiteX13" fmla="*/ 1269316 w 1684487"/>
              <a:gd name="connsiteY13" fmla="*/ 348074 h 2092751"/>
              <a:gd name="connsiteX14" fmla="*/ 1273592 w 1684487"/>
              <a:gd name="connsiteY14" fmla="*/ 390496 h 2092751"/>
              <a:gd name="connsiteX15" fmla="*/ 1403734 w 1684487"/>
              <a:gd name="connsiteY15" fmla="*/ 390496 h 2092751"/>
              <a:gd name="connsiteX16" fmla="*/ 1684487 w 1684487"/>
              <a:gd name="connsiteY16" fmla="*/ 671249 h 2092751"/>
              <a:gd name="connsiteX17" fmla="*/ 1684487 w 1684487"/>
              <a:gd name="connsiteY17" fmla="*/ 1422063 h 2092751"/>
              <a:gd name="connsiteX18" fmla="*/ 1684487 w 1684487"/>
              <a:gd name="connsiteY18" fmla="*/ 1607485 h 2092751"/>
              <a:gd name="connsiteX19" fmla="*/ 1684487 w 1684487"/>
              <a:gd name="connsiteY19" fmla="*/ 1811998 h 2092751"/>
              <a:gd name="connsiteX20" fmla="*/ 1403734 w 1684487"/>
              <a:gd name="connsiteY20" fmla="*/ 2092751 h 2092751"/>
              <a:gd name="connsiteX21" fmla="*/ 1172729 w 1684487"/>
              <a:gd name="connsiteY21" fmla="*/ 2092751 h 2092751"/>
              <a:gd name="connsiteX22" fmla="*/ 1172729 w 1684487"/>
              <a:gd name="connsiteY22" fmla="*/ 1922009 h 2092751"/>
              <a:gd name="connsiteX23" fmla="*/ 1337277 w 1684487"/>
              <a:gd name="connsiteY23" fmla="*/ 1922009 h 2092751"/>
              <a:gd name="connsiteX24" fmla="*/ 1499066 w 1684487"/>
              <a:gd name="connsiteY24" fmla="*/ 1760220 h 2092751"/>
              <a:gd name="connsiteX25" fmla="*/ 1499066 w 1684487"/>
              <a:gd name="connsiteY25" fmla="*/ 1607485 h 2092751"/>
              <a:gd name="connsiteX26" fmla="*/ 1499066 w 1684487"/>
              <a:gd name="connsiteY26" fmla="*/ 1422063 h 2092751"/>
              <a:gd name="connsiteX27" fmla="*/ 1499066 w 1684487"/>
              <a:gd name="connsiteY27" fmla="*/ 723026 h 2092751"/>
              <a:gd name="connsiteX28" fmla="*/ 1337277 w 1684487"/>
              <a:gd name="connsiteY28" fmla="*/ 561237 h 2092751"/>
              <a:gd name="connsiteX29" fmla="*/ 1257690 w 1684487"/>
              <a:gd name="connsiteY29" fmla="*/ 561237 h 2092751"/>
              <a:gd name="connsiteX30" fmla="*/ 1243915 w 1684487"/>
              <a:gd name="connsiteY30" fmla="*/ 605612 h 2092751"/>
              <a:gd name="connsiteX31" fmla="*/ 842243 w 1684487"/>
              <a:gd name="connsiteY31" fmla="*/ 871858 h 2092751"/>
              <a:gd name="connsiteX32" fmla="*/ 440572 w 1684487"/>
              <a:gd name="connsiteY32" fmla="*/ 605612 h 2092751"/>
              <a:gd name="connsiteX33" fmla="*/ 426797 w 1684487"/>
              <a:gd name="connsiteY33" fmla="*/ 561237 h 2092751"/>
              <a:gd name="connsiteX34" fmla="*/ 347210 w 1684487"/>
              <a:gd name="connsiteY34" fmla="*/ 561237 h 2092751"/>
              <a:gd name="connsiteX35" fmla="*/ 185421 w 1684487"/>
              <a:gd name="connsiteY35" fmla="*/ 723026 h 2092751"/>
              <a:gd name="connsiteX36" fmla="*/ 185421 w 1684487"/>
              <a:gd name="connsiteY36" fmla="*/ 1422063 h 2092751"/>
              <a:gd name="connsiteX37" fmla="*/ 0 w 1684487"/>
              <a:gd name="connsiteY37" fmla="*/ 1422063 h 2092751"/>
              <a:gd name="connsiteX38" fmla="*/ 0 w 1684487"/>
              <a:gd name="connsiteY38" fmla="*/ 671249 h 2092751"/>
              <a:gd name="connsiteX39" fmla="*/ 280753 w 1684487"/>
              <a:gd name="connsiteY39" fmla="*/ 390496 h 2092751"/>
              <a:gd name="connsiteX40" fmla="*/ 410894 w 1684487"/>
              <a:gd name="connsiteY40" fmla="*/ 390496 h 2092751"/>
              <a:gd name="connsiteX41" fmla="*/ 415171 w 1684487"/>
              <a:gd name="connsiteY41" fmla="*/ 348074 h 2092751"/>
              <a:gd name="connsiteX42" fmla="*/ 842243 w 1684487"/>
              <a:gd name="connsiteY42" fmla="*/ 0 h 209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684487" h="2092751">
                <a:moveTo>
                  <a:pt x="0" y="1607483"/>
                </a:moveTo>
                <a:lnTo>
                  <a:pt x="185421" y="1607483"/>
                </a:lnTo>
                <a:lnTo>
                  <a:pt x="185421" y="1760220"/>
                </a:lnTo>
                <a:cubicBezTo>
                  <a:pt x="185421" y="1849574"/>
                  <a:pt x="257856" y="1922009"/>
                  <a:pt x="347210" y="1922009"/>
                </a:cubicBezTo>
                <a:lnTo>
                  <a:pt x="488136" y="1922009"/>
                </a:lnTo>
                <a:lnTo>
                  <a:pt x="658877" y="1922009"/>
                </a:lnTo>
                <a:lnTo>
                  <a:pt x="1001987" y="1922009"/>
                </a:lnTo>
                <a:lnTo>
                  <a:pt x="1001987" y="2092751"/>
                </a:lnTo>
                <a:lnTo>
                  <a:pt x="658877" y="2092751"/>
                </a:lnTo>
                <a:lnTo>
                  <a:pt x="488136" y="2092751"/>
                </a:lnTo>
                <a:lnTo>
                  <a:pt x="280753" y="2092751"/>
                </a:lnTo>
                <a:cubicBezTo>
                  <a:pt x="125697" y="2092751"/>
                  <a:pt x="0" y="1967054"/>
                  <a:pt x="0" y="1811998"/>
                </a:cubicBezTo>
                <a:close/>
                <a:moveTo>
                  <a:pt x="842243" y="0"/>
                </a:moveTo>
                <a:cubicBezTo>
                  <a:pt x="1052906" y="0"/>
                  <a:pt x="1228667" y="149429"/>
                  <a:pt x="1269316" y="348074"/>
                </a:cubicBezTo>
                <a:lnTo>
                  <a:pt x="1273592" y="390496"/>
                </a:lnTo>
                <a:lnTo>
                  <a:pt x="1403734" y="390496"/>
                </a:lnTo>
                <a:cubicBezTo>
                  <a:pt x="1558790" y="390496"/>
                  <a:pt x="1684487" y="516193"/>
                  <a:pt x="1684487" y="671249"/>
                </a:cubicBezTo>
                <a:lnTo>
                  <a:pt x="1684487" y="1422063"/>
                </a:lnTo>
                <a:lnTo>
                  <a:pt x="1684487" y="1607485"/>
                </a:lnTo>
                <a:lnTo>
                  <a:pt x="1684487" y="1811998"/>
                </a:lnTo>
                <a:cubicBezTo>
                  <a:pt x="1684487" y="1967054"/>
                  <a:pt x="1558790" y="2092751"/>
                  <a:pt x="1403734" y="2092751"/>
                </a:cubicBezTo>
                <a:lnTo>
                  <a:pt x="1172729" y="2092751"/>
                </a:lnTo>
                <a:lnTo>
                  <a:pt x="1172729" y="1922009"/>
                </a:lnTo>
                <a:lnTo>
                  <a:pt x="1337277" y="1922009"/>
                </a:lnTo>
                <a:cubicBezTo>
                  <a:pt x="1426631" y="1922009"/>
                  <a:pt x="1499066" y="1849574"/>
                  <a:pt x="1499066" y="1760220"/>
                </a:cubicBezTo>
                <a:lnTo>
                  <a:pt x="1499066" y="1607485"/>
                </a:lnTo>
                <a:lnTo>
                  <a:pt x="1499066" y="1422063"/>
                </a:lnTo>
                <a:lnTo>
                  <a:pt x="1499066" y="723026"/>
                </a:lnTo>
                <a:cubicBezTo>
                  <a:pt x="1499066" y="633672"/>
                  <a:pt x="1426631" y="561237"/>
                  <a:pt x="1337277" y="561237"/>
                </a:cubicBezTo>
                <a:lnTo>
                  <a:pt x="1257690" y="561237"/>
                </a:lnTo>
                <a:lnTo>
                  <a:pt x="1243915" y="605612"/>
                </a:lnTo>
                <a:cubicBezTo>
                  <a:pt x="1177737" y="762074"/>
                  <a:pt x="1022811" y="871858"/>
                  <a:pt x="842243" y="871858"/>
                </a:cubicBezTo>
                <a:cubicBezTo>
                  <a:pt x="661676" y="871858"/>
                  <a:pt x="506749" y="762074"/>
                  <a:pt x="440572" y="605612"/>
                </a:cubicBezTo>
                <a:lnTo>
                  <a:pt x="426797" y="561237"/>
                </a:lnTo>
                <a:lnTo>
                  <a:pt x="347210" y="561237"/>
                </a:lnTo>
                <a:cubicBezTo>
                  <a:pt x="257856" y="561237"/>
                  <a:pt x="185421" y="633672"/>
                  <a:pt x="185421" y="723026"/>
                </a:cubicBezTo>
                <a:lnTo>
                  <a:pt x="185421" y="1422063"/>
                </a:lnTo>
                <a:lnTo>
                  <a:pt x="0" y="1422063"/>
                </a:lnTo>
                <a:lnTo>
                  <a:pt x="0" y="671249"/>
                </a:lnTo>
                <a:cubicBezTo>
                  <a:pt x="0" y="516193"/>
                  <a:pt x="125697" y="390496"/>
                  <a:pt x="280753" y="390496"/>
                </a:cubicBezTo>
                <a:lnTo>
                  <a:pt x="410894" y="390496"/>
                </a:lnTo>
                <a:lnTo>
                  <a:pt x="415171" y="348074"/>
                </a:lnTo>
                <a:cubicBezTo>
                  <a:pt x="455820" y="149429"/>
                  <a:pt x="631581" y="0"/>
                  <a:pt x="84224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B0A74AD-6F22-4FD0-8F4D-B3DDB52A61D9}"/>
              </a:ext>
            </a:extLst>
          </p:cNvPr>
          <p:cNvSpPr/>
          <p:nvPr userDrawn="1"/>
        </p:nvSpPr>
        <p:spPr>
          <a:xfrm rot="18900000">
            <a:off x="5896200" y="1796594"/>
            <a:ext cx="2258123" cy="1817597"/>
          </a:xfrm>
          <a:custGeom>
            <a:avLst/>
            <a:gdLst>
              <a:gd name="connsiteX0" fmla="*/ 682500 w 2092751"/>
              <a:gd name="connsiteY0" fmla="*/ 0 h 1684487"/>
              <a:gd name="connsiteX1" fmla="*/ 1421502 w 2092751"/>
              <a:gd name="connsiteY1" fmla="*/ 0 h 1684487"/>
              <a:gd name="connsiteX2" fmla="*/ 1702255 w 2092751"/>
              <a:gd name="connsiteY2" fmla="*/ 280753 h 1684487"/>
              <a:gd name="connsiteX3" fmla="*/ 1702255 w 2092751"/>
              <a:gd name="connsiteY3" fmla="*/ 410894 h 1684487"/>
              <a:gd name="connsiteX4" fmla="*/ 1744677 w 2092751"/>
              <a:gd name="connsiteY4" fmla="*/ 415171 h 1684487"/>
              <a:gd name="connsiteX5" fmla="*/ 2092751 w 2092751"/>
              <a:gd name="connsiteY5" fmla="*/ 842243 h 1684487"/>
              <a:gd name="connsiteX6" fmla="*/ 1744677 w 2092751"/>
              <a:gd name="connsiteY6" fmla="*/ 1269316 h 1684487"/>
              <a:gd name="connsiteX7" fmla="*/ 1702255 w 2092751"/>
              <a:gd name="connsiteY7" fmla="*/ 1273592 h 1684487"/>
              <a:gd name="connsiteX8" fmla="*/ 1702255 w 2092751"/>
              <a:gd name="connsiteY8" fmla="*/ 1403734 h 1684487"/>
              <a:gd name="connsiteX9" fmla="*/ 1421502 w 2092751"/>
              <a:gd name="connsiteY9" fmla="*/ 1684487 h 1684487"/>
              <a:gd name="connsiteX10" fmla="*/ 682500 w 2092751"/>
              <a:gd name="connsiteY10" fmla="*/ 1684487 h 1684487"/>
              <a:gd name="connsiteX11" fmla="*/ 497079 w 2092751"/>
              <a:gd name="connsiteY11" fmla="*/ 1684487 h 1684487"/>
              <a:gd name="connsiteX12" fmla="*/ 280753 w 2092751"/>
              <a:gd name="connsiteY12" fmla="*/ 1684487 h 1684487"/>
              <a:gd name="connsiteX13" fmla="*/ 0 w 2092751"/>
              <a:gd name="connsiteY13" fmla="*/ 1403734 h 1684487"/>
              <a:gd name="connsiteX14" fmla="*/ 0 w 2092751"/>
              <a:gd name="connsiteY14" fmla="*/ 1184540 h 1684487"/>
              <a:gd name="connsiteX15" fmla="*/ 170742 w 2092751"/>
              <a:gd name="connsiteY15" fmla="*/ 1184540 h 1684487"/>
              <a:gd name="connsiteX16" fmla="*/ 170742 w 2092751"/>
              <a:gd name="connsiteY16" fmla="*/ 1337277 h 1684487"/>
              <a:gd name="connsiteX17" fmla="*/ 332531 w 2092751"/>
              <a:gd name="connsiteY17" fmla="*/ 1499066 h 1684487"/>
              <a:gd name="connsiteX18" fmla="*/ 497079 w 2092751"/>
              <a:gd name="connsiteY18" fmla="*/ 1499066 h 1684487"/>
              <a:gd name="connsiteX19" fmla="*/ 682500 w 2092751"/>
              <a:gd name="connsiteY19" fmla="*/ 1499067 h 1684487"/>
              <a:gd name="connsiteX20" fmla="*/ 1369725 w 2092751"/>
              <a:gd name="connsiteY20" fmla="*/ 1499067 h 1684487"/>
              <a:gd name="connsiteX21" fmla="*/ 1531514 w 2092751"/>
              <a:gd name="connsiteY21" fmla="*/ 1337278 h 1684487"/>
              <a:gd name="connsiteX22" fmla="*/ 1531514 w 2092751"/>
              <a:gd name="connsiteY22" fmla="*/ 1257690 h 1684487"/>
              <a:gd name="connsiteX23" fmla="*/ 1487138 w 2092751"/>
              <a:gd name="connsiteY23" fmla="*/ 1243915 h 1684487"/>
              <a:gd name="connsiteX24" fmla="*/ 1220893 w 2092751"/>
              <a:gd name="connsiteY24" fmla="*/ 842243 h 1684487"/>
              <a:gd name="connsiteX25" fmla="*/ 1487138 w 2092751"/>
              <a:gd name="connsiteY25" fmla="*/ 440572 h 1684487"/>
              <a:gd name="connsiteX26" fmla="*/ 1531514 w 2092751"/>
              <a:gd name="connsiteY26" fmla="*/ 426797 h 1684487"/>
              <a:gd name="connsiteX27" fmla="*/ 1531514 w 2092751"/>
              <a:gd name="connsiteY27" fmla="*/ 347211 h 1684487"/>
              <a:gd name="connsiteX28" fmla="*/ 1369725 w 2092751"/>
              <a:gd name="connsiteY28" fmla="*/ 185422 h 1684487"/>
              <a:gd name="connsiteX29" fmla="*/ 682500 w 2092751"/>
              <a:gd name="connsiteY29" fmla="*/ 185422 h 1684487"/>
              <a:gd name="connsiteX30" fmla="*/ 280753 w 2092751"/>
              <a:gd name="connsiteY30" fmla="*/ 0 h 1684487"/>
              <a:gd name="connsiteX31" fmla="*/ 497079 w 2092751"/>
              <a:gd name="connsiteY31" fmla="*/ 0 h 1684487"/>
              <a:gd name="connsiteX32" fmla="*/ 497079 w 2092751"/>
              <a:gd name="connsiteY32" fmla="*/ 185422 h 1684487"/>
              <a:gd name="connsiteX33" fmla="*/ 332531 w 2092751"/>
              <a:gd name="connsiteY33" fmla="*/ 185422 h 1684487"/>
              <a:gd name="connsiteX34" fmla="*/ 170742 w 2092751"/>
              <a:gd name="connsiteY34" fmla="*/ 347211 h 1684487"/>
              <a:gd name="connsiteX35" fmla="*/ 170742 w 2092751"/>
              <a:gd name="connsiteY35" fmla="*/ 499946 h 1684487"/>
              <a:gd name="connsiteX36" fmla="*/ 170742 w 2092751"/>
              <a:gd name="connsiteY36" fmla="*/ 670688 h 1684487"/>
              <a:gd name="connsiteX37" fmla="*/ 170742 w 2092751"/>
              <a:gd name="connsiteY37" fmla="*/ 1013798 h 1684487"/>
              <a:gd name="connsiteX38" fmla="*/ 0 w 2092751"/>
              <a:gd name="connsiteY38" fmla="*/ 1013798 h 1684487"/>
              <a:gd name="connsiteX39" fmla="*/ 0 w 2092751"/>
              <a:gd name="connsiteY39" fmla="*/ 670688 h 1684487"/>
              <a:gd name="connsiteX40" fmla="*/ 0 w 2092751"/>
              <a:gd name="connsiteY40" fmla="*/ 499946 h 1684487"/>
              <a:gd name="connsiteX41" fmla="*/ 0 w 2092751"/>
              <a:gd name="connsiteY41" fmla="*/ 280753 h 1684487"/>
              <a:gd name="connsiteX42" fmla="*/ 280753 w 2092751"/>
              <a:gd name="connsiteY42" fmla="*/ 0 h 168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2092751" h="1684487">
                <a:moveTo>
                  <a:pt x="682500" y="0"/>
                </a:moveTo>
                <a:lnTo>
                  <a:pt x="1421502" y="0"/>
                </a:lnTo>
                <a:cubicBezTo>
                  <a:pt x="1576558" y="0"/>
                  <a:pt x="1702255" y="125697"/>
                  <a:pt x="1702255" y="280753"/>
                </a:cubicBezTo>
                <a:lnTo>
                  <a:pt x="1702255" y="410894"/>
                </a:lnTo>
                <a:lnTo>
                  <a:pt x="1744677" y="415171"/>
                </a:lnTo>
                <a:cubicBezTo>
                  <a:pt x="1943322" y="455819"/>
                  <a:pt x="2092751" y="631581"/>
                  <a:pt x="2092751" y="842243"/>
                </a:cubicBezTo>
                <a:cubicBezTo>
                  <a:pt x="2092751" y="1052906"/>
                  <a:pt x="1943322" y="1228667"/>
                  <a:pt x="1744677" y="1269316"/>
                </a:cubicBezTo>
                <a:lnTo>
                  <a:pt x="1702255" y="1273592"/>
                </a:lnTo>
                <a:lnTo>
                  <a:pt x="1702255" y="1403734"/>
                </a:lnTo>
                <a:cubicBezTo>
                  <a:pt x="1702255" y="1558790"/>
                  <a:pt x="1576558" y="1684487"/>
                  <a:pt x="1421502" y="1684487"/>
                </a:cubicBezTo>
                <a:lnTo>
                  <a:pt x="682500" y="1684487"/>
                </a:lnTo>
                <a:lnTo>
                  <a:pt x="497079" y="1684487"/>
                </a:lnTo>
                <a:lnTo>
                  <a:pt x="280753" y="1684487"/>
                </a:lnTo>
                <a:cubicBezTo>
                  <a:pt x="125697" y="1684487"/>
                  <a:pt x="0" y="1558790"/>
                  <a:pt x="0" y="1403734"/>
                </a:cubicBezTo>
                <a:lnTo>
                  <a:pt x="0" y="1184540"/>
                </a:lnTo>
                <a:lnTo>
                  <a:pt x="170742" y="1184540"/>
                </a:lnTo>
                <a:lnTo>
                  <a:pt x="170742" y="1337277"/>
                </a:lnTo>
                <a:cubicBezTo>
                  <a:pt x="170742" y="1426631"/>
                  <a:pt x="243177" y="1499066"/>
                  <a:pt x="332531" y="1499066"/>
                </a:cubicBezTo>
                <a:lnTo>
                  <a:pt x="497079" y="1499066"/>
                </a:lnTo>
                <a:lnTo>
                  <a:pt x="682500" y="1499067"/>
                </a:lnTo>
                <a:lnTo>
                  <a:pt x="1369725" y="1499067"/>
                </a:lnTo>
                <a:cubicBezTo>
                  <a:pt x="1459079" y="1499067"/>
                  <a:pt x="1531514" y="1426632"/>
                  <a:pt x="1531514" y="1337278"/>
                </a:cubicBezTo>
                <a:lnTo>
                  <a:pt x="1531514" y="1257690"/>
                </a:lnTo>
                <a:lnTo>
                  <a:pt x="1487138" y="1243915"/>
                </a:lnTo>
                <a:cubicBezTo>
                  <a:pt x="1330677" y="1177737"/>
                  <a:pt x="1220893" y="1022811"/>
                  <a:pt x="1220893" y="842243"/>
                </a:cubicBezTo>
                <a:cubicBezTo>
                  <a:pt x="1220893" y="661675"/>
                  <a:pt x="1330677" y="506749"/>
                  <a:pt x="1487138" y="440572"/>
                </a:cubicBezTo>
                <a:lnTo>
                  <a:pt x="1531514" y="426797"/>
                </a:lnTo>
                <a:lnTo>
                  <a:pt x="1531514" y="347211"/>
                </a:lnTo>
                <a:cubicBezTo>
                  <a:pt x="1531514" y="257857"/>
                  <a:pt x="1459079" y="185422"/>
                  <a:pt x="1369725" y="185422"/>
                </a:cubicBezTo>
                <a:lnTo>
                  <a:pt x="682500" y="185422"/>
                </a:lnTo>
                <a:close/>
                <a:moveTo>
                  <a:pt x="280753" y="0"/>
                </a:moveTo>
                <a:lnTo>
                  <a:pt x="497079" y="0"/>
                </a:lnTo>
                <a:lnTo>
                  <a:pt x="497079" y="185422"/>
                </a:lnTo>
                <a:lnTo>
                  <a:pt x="332531" y="185422"/>
                </a:lnTo>
                <a:cubicBezTo>
                  <a:pt x="243177" y="185422"/>
                  <a:pt x="170742" y="257857"/>
                  <a:pt x="170742" y="347211"/>
                </a:cubicBezTo>
                <a:lnTo>
                  <a:pt x="170742" y="499946"/>
                </a:lnTo>
                <a:lnTo>
                  <a:pt x="170742" y="670688"/>
                </a:lnTo>
                <a:lnTo>
                  <a:pt x="170742" y="1013798"/>
                </a:lnTo>
                <a:lnTo>
                  <a:pt x="0" y="1013798"/>
                </a:lnTo>
                <a:lnTo>
                  <a:pt x="0" y="670688"/>
                </a:lnTo>
                <a:lnTo>
                  <a:pt x="0" y="499946"/>
                </a:lnTo>
                <a:lnTo>
                  <a:pt x="0" y="280753"/>
                </a:lnTo>
                <a:cubicBezTo>
                  <a:pt x="0" y="125697"/>
                  <a:pt x="125697" y="0"/>
                  <a:pt x="28075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6B6ABE8-92B9-4DF3-9EE3-8E6CC2B2F6BA}"/>
              </a:ext>
            </a:extLst>
          </p:cNvPr>
          <p:cNvSpPr/>
          <p:nvPr userDrawn="1"/>
        </p:nvSpPr>
        <p:spPr>
          <a:xfrm rot="18900000">
            <a:off x="6125474" y="3425839"/>
            <a:ext cx="1817597" cy="2258122"/>
          </a:xfrm>
          <a:custGeom>
            <a:avLst/>
            <a:gdLst>
              <a:gd name="connsiteX0" fmla="*/ 658877 w 1684487"/>
              <a:gd name="connsiteY0" fmla="*/ 0 h 2092751"/>
              <a:gd name="connsiteX1" fmla="*/ 1001987 w 1684487"/>
              <a:gd name="connsiteY1" fmla="*/ 0 h 2092751"/>
              <a:gd name="connsiteX2" fmla="*/ 1172729 w 1684487"/>
              <a:gd name="connsiteY2" fmla="*/ 0 h 2092751"/>
              <a:gd name="connsiteX3" fmla="*/ 1403734 w 1684487"/>
              <a:gd name="connsiteY3" fmla="*/ 0 h 2092751"/>
              <a:gd name="connsiteX4" fmla="*/ 1684487 w 1684487"/>
              <a:gd name="connsiteY4" fmla="*/ 280753 h 2092751"/>
              <a:gd name="connsiteX5" fmla="*/ 1684487 w 1684487"/>
              <a:gd name="connsiteY5" fmla="*/ 485269 h 2092751"/>
              <a:gd name="connsiteX6" fmla="*/ 1499066 w 1684487"/>
              <a:gd name="connsiteY6" fmla="*/ 485268 h 2092751"/>
              <a:gd name="connsiteX7" fmla="*/ 1499066 w 1684487"/>
              <a:gd name="connsiteY7" fmla="*/ 332531 h 2092751"/>
              <a:gd name="connsiteX8" fmla="*/ 1337277 w 1684487"/>
              <a:gd name="connsiteY8" fmla="*/ 170742 h 2092751"/>
              <a:gd name="connsiteX9" fmla="*/ 1172729 w 1684487"/>
              <a:gd name="connsiteY9" fmla="*/ 170742 h 2092751"/>
              <a:gd name="connsiteX10" fmla="*/ 1001987 w 1684487"/>
              <a:gd name="connsiteY10" fmla="*/ 170742 h 2092751"/>
              <a:gd name="connsiteX11" fmla="*/ 658877 w 1684487"/>
              <a:gd name="connsiteY11" fmla="*/ 170742 h 2092751"/>
              <a:gd name="connsiteX12" fmla="*/ 280753 w 1684487"/>
              <a:gd name="connsiteY12" fmla="*/ 0 h 2092751"/>
              <a:gd name="connsiteX13" fmla="*/ 488136 w 1684487"/>
              <a:gd name="connsiteY13" fmla="*/ 0 h 2092751"/>
              <a:gd name="connsiteX14" fmla="*/ 488136 w 1684487"/>
              <a:gd name="connsiteY14" fmla="*/ 170742 h 2092751"/>
              <a:gd name="connsiteX15" fmla="*/ 347210 w 1684487"/>
              <a:gd name="connsiteY15" fmla="*/ 170742 h 2092751"/>
              <a:gd name="connsiteX16" fmla="*/ 185421 w 1684487"/>
              <a:gd name="connsiteY16" fmla="*/ 332531 h 2092751"/>
              <a:gd name="connsiteX17" fmla="*/ 185421 w 1684487"/>
              <a:gd name="connsiteY17" fmla="*/ 485267 h 2092751"/>
              <a:gd name="connsiteX18" fmla="*/ 185421 w 1684487"/>
              <a:gd name="connsiteY18" fmla="*/ 670689 h 2092751"/>
              <a:gd name="connsiteX19" fmla="*/ 185421 w 1684487"/>
              <a:gd name="connsiteY19" fmla="*/ 1369725 h 2092751"/>
              <a:gd name="connsiteX20" fmla="*/ 347210 w 1684487"/>
              <a:gd name="connsiteY20" fmla="*/ 1531514 h 2092751"/>
              <a:gd name="connsiteX21" fmla="*/ 426797 w 1684487"/>
              <a:gd name="connsiteY21" fmla="*/ 1531514 h 2092751"/>
              <a:gd name="connsiteX22" fmla="*/ 440572 w 1684487"/>
              <a:gd name="connsiteY22" fmla="*/ 1487138 h 2092751"/>
              <a:gd name="connsiteX23" fmla="*/ 842244 w 1684487"/>
              <a:gd name="connsiteY23" fmla="*/ 1220893 h 2092751"/>
              <a:gd name="connsiteX24" fmla="*/ 1243915 w 1684487"/>
              <a:gd name="connsiteY24" fmla="*/ 1487138 h 2092751"/>
              <a:gd name="connsiteX25" fmla="*/ 1257690 w 1684487"/>
              <a:gd name="connsiteY25" fmla="*/ 1531514 h 2092751"/>
              <a:gd name="connsiteX26" fmla="*/ 1337277 w 1684487"/>
              <a:gd name="connsiteY26" fmla="*/ 1531514 h 2092751"/>
              <a:gd name="connsiteX27" fmla="*/ 1499066 w 1684487"/>
              <a:gd name="connsiteY27" fmla="*/ 1369725 h 2092751"/>
              <a:gd name="connsiteX28" fmla="*/ 1499066 w 1684487"/>
              <a:gd name="connsiteY28" fmla="*/ 670689 h 2092751"/>
              <a:gd name="connsiteX29" fmla="*/ 1684487 w 1684487"/>
              <a:gd name="connsiteY29" fmla="*/ 670689 h 2092751"/>
              <a:gd name="connsiteX30" fmla="*/ 1684487 w 1684487"/>
              <a:gd name="connsiteY30" fmla="*/ 1421502 h 2092751"/>
              <a:gd name="connsiteX31" fmla="*/ 1403734 w 1684487"/>
              <a:gd name="connsiteY31" fmla="*/ 1702255 h 2092751"/>
              <a:gd name="connsiteX32" fmla="*/ 1273593 w 1684487"/>
              <a:gd name="connsiteY32" fmla="*/ 1702255 h 2092751"/>
              <a:gd name="connsiteX33" fmla="*/ 1269316 w 1684487"/>
              <a:gd name="connsiteY33" fmla="*/ 1744677 h 2092751"/>
              <a:gd name="connsiteX34" fmla="*/ 842244 w 1684487"/>
              <a:gd name="connsiteY34" fmla="*/ 2092751 h 2092751"/>
              <a:gd name="connsiteX35" fmla="*/ 415171 w 1684487"/>
              <a:gd name="connsiteY35" fmla="*/ 1744677 h 2092751"/>
              <a:gd name="connsiteX36" fmla="*/ 410895 w 1684487"/>
              <a:gd name="connsiteY36" fmla="*/ 1702255 h 2092751"/>
              <a:gd name="connsiteX37" fmla="*/ 280753 w 1684487"/>
              <a:gd name="connsiteY37" fmla="*/ 1702255 h 2092751"/>
              <a:gd name="connsiteX38" fmla="*/ 0 w 1684487"/>
              <a:gd name="connsiteY38" fmla="*/ 1421502 h 2092751"/>
              <a:gd name="connsiteX39" fmla="*/ 0 w 1684487"/>
              <a:gd name="connsiteY39" fmla="*/ 670689 h 2092751"/>
              <a:gd name="connsiteX40" fmla="*/ 0 w 1684487"/>
              <a:gd name="connsiteY40" fmla="*/ 485267 h 2092751"/>
              <a:gd name="connsiteX41" fmla="*/ 0 w 1684487"/>
              <a:gd name="connsiteY41" fmla="*/ 280753 h 2092751"/>
              <a:gd name="connsiteX42" fmla="*/ 280753 w 1684487"/>
              <a:gd name="connsiteY42" fmla="*/ 0 h 209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684487" h="2092751">
                <a:moveTo>
                  <a:pt x="658877" y="0"/>
                </a:moveTo>
                <a:lnTo>
                  <a:pt x="1001987" y="0"/>
                </a:lnTo>
                <a:lnTo>
                  <a:pt x="1172729" y="0"/>
                </a:lnTo>
                <a:lnTo>
                  <a:pt x="1403734" y="0"/>
                </a:lnTo>
                <a:cubicBezTo>
                  <a:pt x="1558790" y="0"/>
                  <a:pt x="1684487" y="125697"/>
                  <a:pt x="1684487" y="280753"/>
                </a:cubicBezTo>
                <a:lnTo>
                  <a:pt x="1684487" y="485269"/>
                </a:lnTo>
                <a:lnTo>
                  <a:pt x="1499066" y="485268"/>
                </a:lnTo>
                <a:lnTo>
                  <a:pt x="1499066" y="332531"/>
                </a:lnTo>
                <a:cubicBezTo>
                  <a:pt x="1499066" y="243177"/>
                  <a:pt x="1426631" y="170742"/>
                  <a:pt x="1337277" y="170742"/>
                </a:cubicBezTo>
                <a:lnTo>
                  <a:pt x="1172729" y="170742"/>
                </a:lnTo>
                <a:lnTo>
                  <a:pt x="1001987" y="170742"/>
                </a:lnTo>
                <a:lnTo>
                  <a:pt x="658877" y="170742"/>
                </a:lnTo>
                <a:close/>
                <a:moveTo>
                  <a:pt x="280753" y="0"/>
                </a:moveTo>
                <a:lnTo>
                  <a:pt x="488136" y="0"/>
                </a:lnTo>
                <a:lnTo>
                  <a:pt x="488136" y="170742"/>
                </a:lnTo>
                <a:lnTo>
                  <a:pt x="347210" y="170742"/>
                </a:lnTo>
                <a:cubicBezTo>
                  <a:pt x="257856" y="170742"/>
                  <a:pt x="185421" y="243177"/>
                  <a:pt x="185421" y="332531"/>
                </a:cubicBezTo>
                <a:lnTo>
                  <a:pt x="185421" y="485267"/>
                </a:lnTo>
                <a:lnTo>
                  <a:pt x="185421" y="670689"/>
                </a:lnTo>
                <a:lnTo>
                  <a:pt x="185421" y="1369725"/>
                </a:lnTo>
                <a:cubicBezTo>
                  <a:pt x="185421" y="1459079"/>
                  <a:pt x="257856" y="1531514"/>
                  <a:pt x="347210" y="1531514"/>
                </a:cubicBezTo>
                <a:lnTo>
                  <a:pt x="426797" y="1531514"/>
                </a:lnTo>
                <a:lnTo>
                  <a:pt x="440572" y="1487138"/>
                </a:lnTo>
                <a:cubicBezTo>
                  <a:pt x="506750" y="1330677"/>
                  <a:pt x="661676" y="1220893"/>
                  <a:pt x="842244" y="1220893"/>
                </a:cubicBezTo>
                <a:cubicBezTo>
                  <a:pt x="1022811" y="1220893"/>
                  <a:pt x="1177738" y="1330677"/>
                  <a:pt x="1243915" y="1487138"/>
                </a:cubicBezTo>
                <a:lnTo>
                  <a:pt x="1257690" y="1531514"/>
                </a:lnTo>
                <a:lnTo>
                  <a:pt x="1337277" y="1531514"/>
                </a:lnTo>
                <a:cubicBezTo>
                  <a:pt x="1426631" y="1531514"/>
                  <a:pt x="1499066" y="1459079"/>
                  <a:pt x="1499066" y="1369725"/>
                </a:cubicBezTo>
                <a:lnTo>
                  <a:pt x="1499066" y="670689"/>
                </a:lnTo>
                <a:lnTo>
                  <a:pt x="1684487" y="670689"/>
                </a:lnTo>
                <a:lnTo>
                  <a:pt x="1684487" y="1421502"/>
                </a:lnTo>
                <a:cubicBezTo>
                  <a:pt x="1684487" y="1576558"/>
                  <a:pt x="1558790" y="1702255"/>
                  <a:pt x="1403734" y="1702255"/>
                </a:cubicBezTo>
                <a:lnTo>
                  <a:pt x="1273593" y="1702255"/>
                </a:lnTo>
                <a:lnTo>
                  <a:pt x="1269316" y="1744677"/>
                </a:lnTo>
                <a:cubicBezTo>
                  <a:pt x="1228667" y="1943322"/>
                  <a:pt x="1052906" y="2092751"/>
                  <a:pt x="842244" y="2092751"/>
                </a:cubicBezTo>
                <a:cubicBezTo>
                  <a:pt x="631581" y="2092751"/>
                  <a:pt x="455820" y="1943322"/>
                  <a:pt x="415171" y="1744677"/>
                </a:cubicBezTo>
                <a:lnTo>
                  <a:pt x="410895" y="1702255"/>
                </a:lnTo>
                <a:lnTo>
                  <a:pt x="280753" y="1702255"/>
                </a:lnTo>
                <a:cubicBezTo>
                  <a:pt x="125697" y="1702255"/>
                  <a:pt x="0" y="1576558"/>
                  <a:pt x="0" y="1421502"/>
                </a:cubicBezTo>
                <a:lnTo>
                  <a:pt x="0" y="670689"/>
                </a:lnTo>
                <a:lnTo>
                  <a:pt x="0" y="485267"/>
                </a:lnTo>
                <a:lnTo>
                  <a:pt x="0" y="280753"/>
                </a:lnTo>
                <a:cubicBezTo>
                  <a:pt x="0" y="125697"/>
                  <a:pt x="125697" y="0"/>
                  <a:pt x="28075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54D17699-51A8-4D56-94F4-3B02532E31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3700" y="1848631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45AEBEB9-DB33-4E16-A4ED-DBBA116D0C2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3700" y="2155955"/>
            <a:ext cx="334772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4606B8D8-FD9C-4FE7-A02B-46865B8283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3700" y="4744691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F8C35743-874A-4B92-A572-046E074477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3700" y="5052015"/>
            <a:ext cx="334772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49" name="Text Placeholder 17">
            <a:extLst>
              <a:ext uri="{FF2B5EF4-FFF2-40B4-BE49-F238E27FC236}">
                <a16:creationId xmlns:a16="http://schemas.microsoft.com/office/drawing/2014/main" id="{B7394FE6-08F5-4AF0-9F97-3A0A0F0CC5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50580" y="1848631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E99284CE-3C50-4656-AB8D-FFAC728A7D9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50580" y="2155955"/>
            <a:ext cx="334772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BDAF828E-356C-44CF-8FA2-B7E169CF34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50580" y="4744691"/>
            <a:ext cx="33477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2" name="Text Placeholder 17">
            <a:extLst>
              <a:ext uri="{FF2B5EF4-FFF2-40B4-BE49-F238E27FC236}">
                <a16:creationId xmlns:a16="http://schemas.microsoft.com/office/drawing/2014/main" id="{F0F37D10-3573-4EED-931F-C4444BB3E2C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450580" y="5052015"/>
            <a:ext cx="334772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</a:t>
            </a:r>
          </a:p>
        </p:txBody>
      </p:sp>
      <p:pic>
        <p:nvPicPr>
          <p:cNvPr id="20" name="Picture 19" descr="darkest-green-horz.png">
            <a:extLst>
              <a:ext uri="{FF2B5EF4-FFF2-40B4-BE49-F238E27FC236}">
                <a16:creationId xmlns:a16="http://schemas.microsoft.com/office/drawing/2014/main" id="{D3232350-5DE2-481F-96B7-3366611084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5325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Business Mod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5">
            <a:extLst>
              <a:ext uri="{FF2B5EF4-FFF2-40B4-BE49-F238E27FC236}">
                <a16:creationId xmlns:a16="http://schemas.microsoft.com/office/drawing/2014/main" id="{464B250C-EDA5-4841-BD6D-F481CE9FFDB3}"/>
              </a:ext>
            </a:extLst>
          </p:cNvPr>
          <p:cNvSpPr/>
          <p:nvPr userDrawn="1"/>
        </p:nvSpPr>
        <p:spPr>
          <a:xfrm>
            <a:off x="0" y="1325880"/>
            <a:ext cx="12192000" cy="3157220"/>
          </a:xfrm>
          <a:custGeom>
            <a:avLst/>
            <a:gdLst/>
            <a:ahLst/>
            <a:cxnLst/>
            <a:rect l="l" t="t" r="r" b="b"/>
            <a:pathLst>
              <a:path w="12192000" h="3157220">
                <a:moveTo>
                  <a:pt x="12192000" y="0"/>
                </a:moveTo>
                <a:lnTo>
                  <a:pt x="0" y="0"/>
                </a:lnTo>
                <a:lnTo>
                  <a:pt x="0" y="3157220"/>
                </a:lnTo>
                <a:lnTo>
                  <a:pt x="12192000" y="3157220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30ABFF32-9BF3-4990-8C96-6AC5B97A4E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6086" y="4720463"/>
            <a:ext cx="11352213" cy="6986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3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numquam</a:t>
            </a:r>
            <a:r>
              <a:rPr lang="en-US"/>
              <a:t> </a:t>
            </a:r>
            <a:r>
              <a:rPr lang="en-US" err="1"/>
              <a:t>accommodare</a:t>
            </a:r>
            <a:r>
              <a:rPr lang="en-US"/>
              <a:t> et. In </a:t>
            </a:r>
            <a:r>
              <a:rPr lang="en-US" err="1"/>
              <a:t>cibo</a:t>
            </a:r>
            <a:r>
              <a:rPr lang="en-US"/>
              <a:t> </a:t>
            </a:r>
            <a:r>
              <a:rPr lang="en-US" err="1"/>
              <a:t>graeco</a:t>
            </a:r>
            <a:r>
              <a:rPr lang="en-US"/>
              <a:t> </a:t>
            </a:r>
            <a:r>
              <a:rPr lang="en-US" err="1"/>
              <a:t>dicunt</a:t>
            </a:r>
            <a:r>
              <a:rPr lang="en-US"/>
              <a:t> sea.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zril</a:t>
            </a:r>
            <a:r>
              <a:rPr lang="en-US"/>
              <a:t> </a:t>
            </a:r>
            <a:r>
              <a:rPr lang="en-US" err="1"/>
              <a:t>sapientem</a:t>
            </a:r>
            <a:r>
              <a:rPr lang="en-US"/>
              <a:t> ne </a:t>
            </a:r>
            <a:r>
              <a:rPr lang="en-US" err="1"/>
              <a:t>mei</a:t>
            </a:r>
            <a:r>
              <a:rPr lang="en-US"/>
              <a:t>, ad </a:t>
            </a:r>
            <a:r>
              <a:rPr lang="en-US" err="1"/>
              <a:t>suas</a:t>
            </a:r>
            <a:r>
              <a:rPr lang="en-US"/>
              <a:t> </a:t>
            </a:r>
            <a:r>
              <a:rPr lang="en-US" err="1"/>
              <a:t>voluptatibus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. </a:t>
            </a:r>
            <a:r>
              <a:rPr lang="en-US" err="1"/>
              <a:t>Tempor</a:t>
            </a:r>
            <a:r>
              <a:rPr lang="en-US"/>
              <a:t>  </a:t>
            </a:r>
            <a:r>
              <a:rPr lang="en-US" err="1"/>
              <a:t>mediocrem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no </a:t>
            </a:r>
            <a:r>
              <a:rPr lang="en-US" err="1"/>
              <a:t>usu</a:t>
            </a:r>
            <a:r>
              <a:rPr lang="en-US"/>
              <a:t>, </a:t>
            </a:r>
            <a:r>
              <a:rPr lang="en-US" err="1"/>
              <a:t>tractatos</a:t>
            </a:r>
            <a:r>
              <a:rPr lang="en-US"/>
              <a:t> </a:t>
            </a:r>
            <a:r>
              <a:rPr lang="en-US" err="1"/>
              <a:t>salutatu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est. Eu vel </a:t>
            </a:r>
            <a:r>
              <a:rPr lang="en-US" err="1"/>
              <a:t>detraxit</a:t>
            </a:r>
            <a:r>
              <a:rPr lang="en-US"/>
              <a:t> </a:t>
            </a:r>
            <a:r>
              <a:rPr lang="en-US" err="1"/>
              <a:t>laboramus</a:t>
            </a:r>
            <a:r>
              <a:rPr lang="en-US"/>
              <a:t>. Cu </a:t>
            </a:r>
            <a:r>
              <a:rPr lang="en-US" err="1"/>
              <a:t>nam</a:t>
            </a:r>
            <a:r>
              <a:rPr lang="en-US"/>
              <a:t> </a:t>
            </a:r>
            <a:r>
              <a:rPr lang="en-US" err="1"/>
              <a:t>unum</a:t>
            </a:r>
            <a:r>
              <a:rPr lang="en-US"/>
              <a:t> liber </a:t>
            </a:r>
            <a:r>
              <a:rPr lang="en-US" err="1"/>
              <a:t>audiam</a:t>
            </a:r>
            <a:r>
              <a:rPr lang="en-US"/>
              <a:t>, sed an </a:t>
            </a:r>
            <a:r>
              <a:rPr lang="en-US" err="1"/>
              <a:t>graeci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nvenire</a:t>
            </a:r>
            <a:r>
              <a:rPr lang="en-US"/>
              <a:t>, in </a:t>
            </a:r>
            <a:r>
              <a:rPr lang="en-US" err="1"/>
              <a:t>gubergren</a:t>
            </a:r>
            <a:r>
              <a:rPr lang="en-US"/>
              <a:t>  </a:t>
            </a:r>
            <a:r>
              <a:rPr lang="en-US" err="1"/>
              <a:t>percipitur</a:t>
            </a:r>
            <a:r>
              <a:rPr lang="en-US"/>
              <a:t> </a:t>
            </a:r>
            <a:r>
              <a:rPr lang="en-US" err="1"/>
              <a:t>scribentur</a:t>
            </a:r>
            <a:r>
              <a:rPr lang="en-US"/>
              <a:t> </a:t>
            </a:r>
            <a:r>
              <a:rPr lang="en-US" err="1"/>
              <a:t>nam</a:t>
            </a:r>
            <a:r>
              <a:rPr lang="en-US"/>
              <a:t>. Sale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ndoctum</a:t>
            </a:r>
            <a:r>
              <a:rPr lang="en-US"/>
              <a:t> has </a:t>
            </a:r>
            <a:r>
              <a:rPr lang="en-US" err="1"/>
              <a:t>ei</a:t>
            </a:r>
            <a:r>
              <a:rPr lang="en-US"/>
              <a:t>, ne sed </a:t>
            </a:r>
            <a:r>
              <a:rPr lang="en-US" err="1"/>
              <a:t>ludus</a:t>
            </a:r>
            <a:r>
              <a:rPr lang="en-US"/>
              <a:t> </a:t>
            </a:r>
            <a:r>
              <a:rPr lang="en-US" err="1"/>
              <a:t>tamquam</a:t>
            </a:r>
            <a:r>
              <a:rPr lang="en-US"/>
              <a:t> </a:t>
            </a:r>
            <a:r>
              <a:rPr lang="en-US" err="1"/>
              <a:t>urbanitas</a:t>
            </a:r>
            <a:r>
              <a:rPr lang="en-US"/>
              <a:t>. Vis id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iusto</a:t>
            </a:r>
            <a:r>
              <a:rPr lang="en-US"/>
              <a:t>, id omnium </a:t>
            </a:r>
            <a:r>
              <a:rPr lang="en-US" err="1"/>
              <a:t>percipitur</a:t>
            </a:r>
            <a:r>
              <a:rPr lang="en-US"/>
              <a:t> duo.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A4C87477-678C-4C65-9C81-20D3048EA8D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4392" y="2781839"/>
            <a:ext cx="156273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4509A642-91B7-4169-A5EE-7753B8B52A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5210" y="2781839"/>
            <a:ext cx="156273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C73F4E65-B530-41C3-AE05-3851227F48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15584" y="2781839"/>
            <a:ext cx="156273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016BB031-CE78-4567-85E7-F9E1D81744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45958" y="2781839"/>
            <a:ext cx="156273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1040106A-A129-44AB-AFCE-3037B5EE73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76841" y="2781839"/>
            <a:ext cx="156273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0C0FDD19-BFE7-430C-AC3D-B667FB9C14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392" y="2406078"/>
            <a:ext cx="156273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9B40F137-E70F-439D-99E2-3C0D67B7BFE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85210" y="2406078"/>
            <a:ext cx="156273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3C248A0F-72CD-4D92-9F48-A31B1A5514A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15584" y="2406078"/>
            <a:ext cx="156273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A549F238-34FA-484C-83BD-6C6A63B194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45958" y="2406078"/>
            <a:ext cx="156273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75E5C6D7-AEAA-40F1-9812-501F4BBE9A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776841" y="2406078"/>
            <a:ext cx="156273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2" name="object 13">
            <a:extLst>
              <a:ext uri="{FF2B5EF4-FFF2-40B4-BE49-F238E27FC236}">
                <a16:creationId xmlns:a16="http://schemas.microsoft.com/office/drawing/2014/main" id="{B5AA9139-0A97-47A8-85CF-35B22F003C4E}"/>
              </a:ext>
            </a:extLst>
          </p:cNvPr>
          <p:cNvSpPr/>
          <p:nvPr userDrawn="1"/>
        </p:nvSpPr>
        <p:spPr>
          <a:xfrm>
            <a:off x="756919" y="2689859"/>
            <a:ext cx="1756410" cy="0"/>
          </a:xfrm>
          <a:custGeom>
            <a:avLst/>
            <a:gdLst/>
            <a:ahLst/>
            <a:cxnLst/>
            <a:rect l="l" t="t" r="r" b="b"/>
            <a:pathLst>
              <a:path w="1756410">
                <a:moveTo>
                  <a:pt x="0" y="0"/>
                </a:moveTo>
                <a:lnTo>
                  <a:pt x="1756283" y="0"/>
                </a:lnTo>
              </a:path>
            </a:pathLst>
          </a:custGeom>
          <a:ln w="1016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3" name="object 13">
            <a:extLst>
              <a:ext uri="{FF2B5EF4-FFF2-40B4-BE49-F238E27FC236}">
                <a16:creationId xmlns:a16="http://schemas.microsoft.com/office/drawing/2014/main" id="{AEC46B0C-9AB1-4100-8C70-3476DB8772EE}"/>
              </a:ext>
            </a:extLst>
          </p:cNvPr>
          <p:cNvSpPr/>
          <p:nvPr userDrawn="1"/>
        </p:nvSpPr>
        <p:spPr>
          <a:xfrm>
            <a:off x="2987691" y="2689859"/>
            <a:ext cx="1756410" cy="0"/>
          </a:xfrm>
          <a:custGeom>
            <a:avLst/>
            <a:gdLst/>
            <a:ahLst/>
            <a:cxnLst/>
            <a:rect l="l" t="t" r="r" b="b"/>
            <a:pathLst>
              <a:path w="1756410">
                <a:moveTo>
                  <a:pt x="0" y="0"/>
                </a:moveTo>
                <a:lnTo>
                  <a:pt x="1756283" y="0"/>
                </a:lnTo>
              </a:path>
            </a:pathLst>
          </a:custGeom>
          <a:ln w="1016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4" name="object 13">
            <a:extLst>
              <a:ext uri="{FF2B5EF4-FFF2-40B4-BE49-F238E27FC236}">
                <a16:creationId xmlns:a16="http://schemas.microsoft.com/office/drawing/2014/main" id="{0AB7DCF0-2FA8-4729-A4E5-2B6C18EAD798}"/>
              </a:ext>
            </a:extLst>
          </p:cNvPr>
          <p:cNvSpPr/>
          <p:nvPr userDrawn="1"/>
        </p:nvSpPr>
        <p:spPr>
          <a:xfrm>
            <a:off x="5218463" y="2689859"/>
            <a:ext cx="1756410" cy="0"/>
          </a:xfrm>
          <a:custGeom>
            <a:avLst/>
            <a:gdLst/>
            <a:ahLst/>
            <a:cxnLst/>
            <a:rect l="l" t="t" r="r" b="b"/>
            <a:pathLst>
              <a:path w="1756410">
                <a:moveTo>
                  <a:pt x="0" y="0"/>
                </a:moveTo>
                <a:lnTo>
                  <a:pt x="1756283" y="0"/>
                </a:lnTo>
              </a:path>
            </a:pathLst>
          </a:custGeom>
          <a:ln w="1016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5" name="object 13">
            <a:extLst>
              <a:ext uri="{FF2B5EF4-FFF2-40B4-BE49-F238E27FC236}">
                <a16:creationId xmlns:a16="http://schemas.microsoft.com/office/drawing/2014/main" id="{0F4F5DFE-23B0-477B-885F-80FC5C2A5E5B}"/>
              </a:ext>
            </a:extLst>
          </p:cNvPr>
          <p:cNvSpPr/>
          <p:nvPr userDrawn="1"/>
        </p:nvSpPr>
        <p:spPr>
          <a:xfrm>
            <a:off x="7449235" y="2689859"/>
            <a:ext cx="1756410" cy="0"/>
          </a:xfrm>
          <a:custGeom>
            <a:avLst/>
            <a:gdLst/>
            <a:ahLst/>
            <a:cxnLst/>
            <a:rect l="l" t="t" r="r" b="b"/>
            <a:pathLst>
              <a:path w="1756410">
                <a:moveTo>
                  <a:pt x="0" y="0"/>
                </a:moveTo>
                <a:lnTo>
                  <a:pt x="1756283" y="0"/>
                </a:lnTo>
              </a:path>
            </a:pathLst>
          </a:custGeom>
          <a:ln w="1016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6" name="object 13">
            <a:extLst>
              <a:ext uri="{FF2B5EF4-FFF2-40B4-BE49-F238E27FC236}">
                <a16:creationId xmlns:a16="http://schemas.microsoft.com/office/drawing/2014/main" id="{E18AE5B2-6B58-4E14-A89A-356172F6BD55}"/>
              </a:ext>
            </a:extLst>
          </p:cNvPr>
          <p:cNvSpPr/>
          <p:nvPr userDrawn="1"/>
        </p:nvSpPr>
        <p:spPr>
          <a:xfrm>
            <a:off x="9680004" y="2689859"/>
            <a:ext cx="1756410" cy="0"/>
          </a:xfrm>
          <a:custGeom>
            <a:avLst/>
            <a:gdLst/>
            <a:ahLst/>
            <a:cxnLst/>
            <a:rect l="l" t="t" r="r" b="b"/>
            <a:pathLst>
              <a:path w="1756410">
                <a:moveTo>
                  <a:pt x="0" y="0"/>
                </a:moveTo>
                <a:lnTo>
                  <a:pt x="1756283" y="0"/>
                </a:lnTo>
              </a:path>
            </a:pathLst>
          </a:custGeom>
          <a:ln w="1016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4FC9AAA-F04A-45F4-9028-CE252BE2753A}"/>
              </a:ext>
            </a:extLst>
          </p:cNvPr>
          <p:cNvSpPr/>
          <p:nvPr userDrawn="1"/>
        </p:nvSpPr>
        <p:spPr>
          <a:xfrm>
            <a:off x="2750510" y="1791970"/>
            <a:ext cx="0" cy="2225040"/>
          </a:xfrm>
          <a:custGeom>
            <a:avLst/>
            <a:gdLst>
              <a:gd name="connsiteX0" fmla="*/ 0 w 0"/>
              <a:gd name="connsiteY0" fmla="*/ 0 h 2225040"/>
              <a:gd name="connsiteX1" fmla="*/ 0 w 0"/>
              <a:gd name="connsiteY1" fmla="*/ 2225040 h 2225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25040">
                <a:moveTo>
                  <a:pt x="0" y="0"/>
                </a:moveTo>
                <a:lnTo>
                  <a:pt x="0" y="2225040"/>
                </a:lnTo>
              </a:path>
            </a:pathLst>
          </a:custGeom>
          <a:noFill/>
          <a:ln w="6350">
            <a:solidFill>
              <a:schemeClr val="bg1">
                <a:lumMod val="9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CEFA0FEF-58F6-4766-B55B-DC150615CDAB}"/>
              </a:ext>
            </a:extLst>
          </p:cNvPr>
          <p:cNvSpPr/>
          <p:nvPr userDrawn="1"/>
        </p:nvSpPr>
        <p:spPr>
          <a:xfrm>
            <a:off x="4981282" y="1791970"/>
            <a:ext cx="0" cy="2225040"/>
          </a:xfrm>
          <a:custGeom>
            <a:avLst/>
            <a:gdLst>
              <a:gd name="connsiteX0" fmla="*/ 0 w 0"/>
              <a:gd name="connsiteY0" fmla="*/ 0 h 2225040"/>
              <a:gd name="connsiteX1" fmla="*/ 0 w 0"/>
              <a:gd name="connsiteY1" fmla="*/ 2225040 h 2225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25040">
                <a:moveTo>
                  <a:pt x="0" y="0"/>
                </a:moveTo>
                <a:lnTo>
                  <a:pt x="0" y="2225040"/>
                </a:lnTo>
              </a:path>
            </a:pathLst>
          </a:custGeom>
          <a:noFill/>
          <a:ln w="6350">
            <a:solidFill>
              <a:schemeClr val="bg1">
                <a:lumMod val="9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4B19D267-B494-49D5-842B-8E51F53E1E24}"/>
              </a:ext>
            </a:extLst>
          </p:cNvPr>
          <p:cNvSpPr/>
          <p:nvPr userDrawn="1"/>
        </p:nvSpPr>
        <p:spPr>
          <a:xfrm>
            <a:off x="7212054" y="1791970"/>
            <a:ext cx="0" cy="2225040"/>
          </a:xfrm>
          <a:custGeom>
            <a:avLst/>
            <a:gdLst>
              <a:gd name="connsiteX0" fmla="*/ 0 w 0"/>
              <a:gd name="connsiteY0" fmla="*/ 0 h 2225040"/>
              <a:gd name="connsiteX1" fmla="*/ 0 w 0"/>
              <a:gd name="connsiteY1" fmla="*/ 2225040 h 2225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25040">
                <a:moveTo>
                  <a:pt x="0" y="0"/>
                </a:moveTo>
                <a:lnTo>
                  <a:pt x="0" y="2225040"/>
                </a:lnTo>
              </a:path>
            </a:pathLst>
          </a:custGeom>
          <a:noFill/>
          <a:ln w="6350">
            <a:solidFill>
              <a:schemeClr val="bg1">
                <a:lumMod val="9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5F9C3430-F5B3-425C-A3DD-79ADAA472365}"/>
              </a:ext>
            </a:extLst>
          </p:cNvPr>
          <p:cNvSpPr/>
          <p:nvPr userDrawn="1"/>
        </p:nvSpPr>
        <p:spPr>
          <a:xfrm>
            <a:off x="9442826" y="1791970"/>
            <a:ext cx="0" cy="2225040"/>
          </a:xfrm>
          <a:custGeom>
            <a:avLst/>
            <a:gdLst>
              <a:gd name="connsiteX0" fmla="*/ 0 w 0"/>
              <a:gd name="connsiteY0" fmla="*/ 0 h 2225040"/>
              <a:gd name="connsiteX1" fmla="*/ 0 w 0"/>
              <a:gd name="connsiteY1" fmla="*/ 2225040 h 2225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25040">
                <a:moveTo>
                  <a:pt x="0" y="0"/>
                </a:moveTo>
                <a:lnTo>
                  <a:pt x="0" y="2225040"/>
                </a:lnTo>
              </a:path>
            </a:pathLst>
          </a:custGeom>
          <a:noFill/>
          <a:ln w="6350">
            <a:solidFill>
              <a:schemeClr val="bg1">
                <a:lumMod val="9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29" name="Picture 28" descr="darkest-green-horz.png">
            <a:extLst>
              <a:ext uri="{FF2B5EF4-FFF2-40B4-BE49-F238E27FC236}">
                <a16:creationId xmlns:a16="http://schemas.microsoft.com/office/drawing/2014/main" id="{4EB6121B-2892-4D4B-9052-8768D83D12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362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8373A50-1F28-4C24-AF19-CE6C1CC49A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Five Goals Li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1BEA5DBA-7782-4306-B3C9-560DC210BB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46774" y="1692797"/>
            <a:ext cx="5638800" cy="4308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8C91768F-EEFA-458B-BC38-5D4D3DE04F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46774" y="2550937"/>
            <a:ext cx="56388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DA56B0E4-1BBB-4AB7-97CE-4205A8B1D8A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46774" y="3409637"/>
            <a:ext cx="56388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00F5DCA2-CB3C-4DA3-BC89-9306302F5A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46774" y="4268337"/>
            <a:ext cx="56388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49" name="Text Placeholder 17">
            <a:extLst>
              <a:ext uri="{FF2B5EF4-FFF2-40B4-BE49-F238E27FC236}">
                <a16:creationId xmlns:a16="http://schemas.microsoft.com/office/drawing/2014/main" id="{A5A9217F-0480-46EC-A91B-06E1CB70B9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46774" y="5127037"/>
            <a:ext cx="56388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39" name="object 8">
            <a:extLst>
              <a:ext uri="{FF2B5EF4-FFF2-40B4-BE49-F238E27FC236}">
                <a16:creationId xmlns:a16="http://schemas.microsoft.com/office/drawing/2014/main" id="{9CF31AA6-ECEE-45A3-BA91-624BAD4A4445}"/>
              </a:ext>
            </a:extLst>
          </p:cNvPr>
          <p:cNvSpPr/>
          <p:nvPr userDrawn="1"/>
        </p:nvSpPr>
        <p:spPr>
          <a:xfrm>
            <a:off x="2906427" y="1693076"/>
            <a:ext cx="429768" cy="429768"/>
          </a:xfrm>
          <a:custGeom>
            <a:avLst/>
            <a:gdLst/>
            <a:ahLst/>
            <a:cxnLst/>
            <a:rect l="l" t="t" r="r" b="b"/>
            <a:pathLst>
              <a:path w="378460" h="378460">
                <a:moveTo>
                  <a:pt x="189230" y="0"/>
                </a:moveTo>
                <a:lnTo>
                  <a:pt x="138832" y="6740"/>
                </a:lnTo>
                <a:lnTo>
                  <a:pt x="93603" y="25776"/>
                </a:lnTo>
                <a:lnTo>
                  <a:pt x="55324" y="55324"/>
                </a:lnTo>
                <a:lnTo>
                  <a:pt x="25776" y="93603"/>
                </a:lnTo>
                <a:lnTo>
                  <a:pt x="6740" y="138832"/>
                </a:lnTo>
                <a:lnTo>
                  <a:pt x="0" y="189229"/>
                </a:lnTo>
                <a:lnTo>
                  <a:pt x="6740" y="239627"/>
                </a:lnTo>
                <a:lnTo>
                  <a:pt x="25776" y="284856"/>
                </a:lnTo>
                <a:lnTo>
                  <a:pt x="55324" y="323135"/>
                </a:lnTo>
                <a:lnTo>
                  <a:pt x="93603" y="352683"/>
                </a:lnTo>
                <a:lnTo>
                  <a:pt x="138832" y="371719"/>
                </a:lnTo>
                <a:lnTo>
                  <a:pt x="189230" y="378459"/>
                </a:lnTo>
                <a:lnTo>
                  <a:pt x="239627" y="371719"/>
                </a:lnTo>
                <a:lnTo>
                  <a:pt x="284856" y="352683"/>
                </a:lnTo>
                <a:lnTo>
                  <a:pt x="323135" y="323135"/>
                </a:lnTo>
                <a:lnTo>
                  <a:pt x="347778" y="291210"/>
                </a:lnTo>
                <a:lnTo>
                  <a:pt x="157099" y="291210"/>
                </a:lnTo>
                <a:lnTo>
                  <a:pt x="67944" y="202056"/>
                </a:lnTo>
                <a:lnTo>
                  <a:pt x="105663" y="163449"/>
                </a:lnTo>
                <a:lnTo>
                  <a:pt x="208605" y="163449"/>
                </a:lnTo>
                <a:lnTo>
                  <a:pt x="275589" y="96392"/>
                </a:lnTo>
                <a:lnTo>
                  <a:pt x="353857" y="96392"/>
                </a:lnTo>
                <a:lnTo>
                  <a:pt x="352683" y="93603"/>
                </a:lnTo>
                <a:lnTo>
                  <a:pt x="323135" y="55324"/>
                </a:lnTo>
                <a:lnTo>
                  <a:pt x="284856" y="25776"/>
                </a:lnTo>
                <a:lnTo>
                  <a:pt x="239627" y="6740"/>
                </a:lnTo>
                <a:lnTo>
                  <a:pt x="189230" y="0"/>
                </a:lnTo>
                <a:close/>
              </a:path>
              <a:path w="378460" h="378460">
                <a:moveTo>
                  <a:pt x="353857" y="96392"/>
                </a:moveTo>
                <a:lnTo>
                  <a:pt x="275589" y="96392"/>
                </a:lnTo>
                <a:lnTo>
                  <a:pt x="313181" y="134112"/>
                </a:lnTo>
                <a:lnTo>
                  <a:pt x="157099" y="291210"/>
                </a:lnTo>
                <a:lnTo>
                  <a:pt x="347778" y="291210"/>
                </a:lnTo>
                <a:lnTo>
                  <a:pt x="352683" y="284856"/>
                </a:lnTo>
                <a:lnTo>
                  <a:pt x="371719" y="239627"/>
                </a:lnTo>
                <a:lnTo>
                  <a:pt x="378460" y="189229"/>
                </a:lnTo>
                <a:lnTo>
                  <a:pt x="371719" y="138832"/>
                </a:lnTo>
                <a:lnTo>
                  <a:pt x="353857" y="96392"/>
                </a:lnTo>
                <a:close/>
              </a:path>
              <a:path w="378460" h="378460">
                <a:moveTo>
                  <a:pt x="208605" y="163449"/>
                </a:moveTo>
                <a:lnTo>
                  <a:pt x="105663" y="163449"/>
                </a:lnTo>
                <a:lnTo>
                  <a:pt x="157099" y="215010"/>
                </a:lnTo>
                <a:lnTo>
                  <a:pt x="208605" y="1634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2" name="object 8">
            <a:extLst>
              <a:ext uri="{FF2B5EF4-FFF2-40B4-BE49-F238E27FC236}">
                <a16:creationId xmlns:a16="http://schemas.microsoft.com/office/drawing/2014/main" id="{71C10288-74A6-42E6-8E00-0DFA593FCB1F}"/>
              </a:ext>
            </a:extLst>
          </p:cNvPr>
          <p:cNvSpPr/>
          <p:nvPr userDrawn="1"/>
        </p:nvSpPr>
        <p:spPr>
          <a:xfrm>
            <a:off x="2906427" y="2552336"/>
            <a:ext cx="429768" cy="429768"/>
          </a:xfrm>
          <a:custGeom>
            <a:avLst/>
            <a:gdLst/>
            <a:ahLst/>
            <a:cxnLst/>
            <a:rect l="l" t="t" r="r" b="b"/>
            <a:pathLst>
              <a:path w="378460" h="378460">
                <a:moveTo>
                  <a:pt x="189230" y="0"/>
                </a:moveTo>
                <a:lnTo>
                  <a:pt x="138832" y="6740"/>
                </a:lnTo>
                <a:lnTo>
                  <a:pt x="93603" y="25776"/>
                </a:lnTo>
                <a:lnTo>
                  <a:pt x="55324" y="55324"/>
                </a:lnTo>
                <a:lnTo>
                  <a:pt x="25776" y="93603"/>
                </a:lnTo>
                <a:lnTo>
                  <a:pt x="6740" y="138832"/>
                </a:lnTo>
                <a:lnTo>
                  <a:pt x="0" y="189229"/>
                </a:lnTo>
                <a:lnTo>
                  <a:pt x="6740" y="239627"/>
                </a:lnTo>
                <a:lnTo>
                  <a:pt x="25776" y="284856"/>
                </a:lnTo>
                <a:lnTo>
                  <a:pt x="55324" y="323135"/>
                </a:lnTo>
                <a:lnTo>
                  <a:pt x="93603" y="352683"/>
                </a:lnTo>
                <a:lnTo>
                  <a:pt x="138832" y="371719"/>
                </a:lnTo>
                <a:lnTo>
                  <a:pt x="189230" y="378459"/>
                </a:lnTo>
                <a:lnTo>
                  <a:pt x="239627" y="371719"/>
                </a:lnTo>
                <a:lnTo>
                  <a:pt x="284856" y="352683"/>
                </a:lnTo>
                <a:lnTo>
                  <a:pt x="323135" y="323135"/>
                </a:lnTo>
                <a:lnTo>
                  <a:pt x="347778" y="291210"/>
                </a:lnTo>
                <a:lnTo>
                  <a:pt x="157099" y="291210"/>
                </a:lnTo>
                <a:lnTo>
                  <a:pt x="67944" y="202056"/>
                </a:lnTo>
                <a:lnTo>
                  <a:pt x="105663" y="163449"/>
                </a:lnTo>
                <a:lnTo>
                  <a:pt x="208605" y="163449"/>
                </a:lnTo>
                <a:lnTo>
                  <a:pt x="275589" y="96392"/>
                </a:lnTo>
                <a:lnTo>
                  <a:pt x="353857" y="96392"/>
                </a:lnTo>
                <a:lnTo>
                  <a:pt x="352683" y="93603"/>
                </a:lnTo>
                <a:lnTo>
                  <a:pt x="323135" y="55324"/>
                </a:lnTo>
                <a:lnTo>
                  <a:pt x="284856" y="25776"/>
                </a:lnTo>
                <a:lnTo>
                  <a:pt x="239627" y="6740"/>
                </a:lnTo>
                <a:lnTo>
                  <a:pt x="189230" y="0"/>
                </a:lnTo>
                <a:close/>
              </a:path>
              <a:path w="378460" h="378460">
                <a:moveTo>
                  <a:pt x="353857" y="96392"/>
                </a:moveTo>
                <a:lnTo>
                  <a:pt x="275589" y="96392"/>
                </a:lnTo>
                <a:lnTo>
                  <a:pt x="313181" y="134112"/>
                </a:lnTo>
                <a:lnTo>
                  <a:pt x="157099" y="291210"/>
                </a:lnTo>
                <a:lnTo>
                  <a:pt x="347778" y="291210"/>
                </a:lnTo>
                <a:lnTo>
                  <a:pt x="352683" y="284856"/>
                </a:lnTo>
                <a:lnTo>
                  <a:pt x="371719" y="239627"/>
                </a:lnTo>
                <a:lnTo>
                  <a:pt x="378460" y="189229"/>
                </a:lnTo>
                <a:lnTo>
                  <a:pt x="371719" y="138832"/>
                </a:lnTo>
                <a:lnTo>
                  <a:pt x="353857" y="96392"/>
                </a:lnTo>
                <a:close/>
              </a:path>
              <a:path w="378460" h="378460">
                <a:moveTo>
                  <a:pt x="208605" y="163449"/>
                </a:moveTo>
                <a:lnTo>
                  <a:pt x="105663" y="163449"/>
                </a:lnTo>
                <a:lnTo>
                  <a:pt x="157099" y="215010"/>
                </a:lnTo>
                <a:lnTo>
                  <a:pt x="208605" y="1634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4" name="object 8">
            <a:extLst>
              <a:ext uri="{FF2B5EF4-FFF2-40B4-BE49-F238E27FC236}">
                <a16:creationId xmlns:a16="http://schemas.microsoft.com/office/drawing/2014/main" id="{0CA7DEB8-4606-4A96-A32E-77B47D62FCF6}"/>
              </a:ext>
            </a:extLst>
          </p:cNvPr>
          <p:cNvSpPr/>
          <p:nvPr userDrawn="1"/>
        </p:nvSpPr>
        <p:spPr>
          <a:xfrm>
            <a:off x="2906427" y="3411036"/>
            <a:ext cx="429768" cy="429768"/>
          </a:xfrm>
          <a:custGeom>
            <a:avLst/>
            <a:gdLst/>
            <a:ahLst/>
            <a:cxnLst/>
            <a:rect l="l" t="t" r="r" b="b"/>
            <a:pathLst>
              <a:path w="378460" h="378460">
                <a:moveTo>
                  <a:pt x="189230" y="0"/>
                </a:moveTo>
                <a:lnTo>
                  <a:pt x="138832" y="6740"/>
                </a:lnTo>
                <a:lnTo>
                  <a:pt x="93603" y="25776"/>
                </a:lnTo>
                <a:lnTo>
                  <a:pt x="55324" y="55324"/>
                </a:lnTo>
                <a:lnTo>
                  <a:pt x="25776" y="93603"/>
                </a:lnTo>
                <a:lnTo>
                  <a:pt x="6740" y="138832"/>
                </a:lnTo>
                <a:lnTo>
                  <a:pt x="0" y="189229"/>
                </a:lnTo>
                <a:lnTo>
                  <a:pt x="6740" y="239627"/>
                </a:lnTo>
                <a:lnTo>
                  <a:pt x="25776" y="284856"/>
                </a:lnTo>
                <a:lnTo>
                  <a:pt x="55324" y="323135"/>
                </a:lnTo>
                <a:lnTo>
                  <a:pt x="93603" y="352683"/>
                </a:lnTo>
                <a:lnTo>
                  <a:pt x="138832" y="371719"/>
                </a:lnTo>
                <a:lnTo>
                  <a:pt x="189230" y="378459"/>
                </a:lnTo>
                <a:lnTo>
                  <a:pt x="239627" y="371719"/>
                </a:lnTo>
                <a:lnTo>
                  <a:pt x="284856" y="352683"/>
                </a:lnTo>
                <a:lnTo>
                  <a:pt x="323135" y="323135"/>
                </a:lnTo>
                <a:lnTo>
                  <a:pt x="347778" y="291210"/>
                </a:lnTo>
                <a:lnTo>
                  <a:pt x="157099" y="291210"/>
                </a:lnTo>
                <a:lnTo>
                  <a:pt x="67944" y="202056"/>
                </a:lnTo>
                <a:lnTo>
                  <a:pt x="105663" y="163449"/>
                </a:lnTo>
                <a:lnTo>
                  <a:pt x="208605" y="163449"/>
                </a:lnTo>
                <a:lnTo>
                  <a:pt x="275589" y="96392"/>
                </a:lnTo>
                <a:lnTo>
                  <a:pt x="353857" y="96392"/>
                </a:lnTo>
                <a:lnTo>
                  <a:pt x="352683" y="93603"/>
                </a:lnTo>
                <a:lnTo>
                  <a:pt x="323135" y="55324"/>
                </a:lnTo>
                <a:lnTo>
                  <a:pt x="284856" y="25776"/>
                </a:lnTo>
                <a:lnTo>
                  <a:pt x="239627" y="6740"/>
                </a:lnTo>
                <a:lnTo>
                  <a:pt x="189230" y="0"/>
                </a:lnTo>
                <a:close/>
              </a:path>
              <a:path w="378460" h="378460">
                <a:moveTo>
                  <a:pt x="353857" y="96392"/>
                </a:moveTo>
                <a:lnTo>
                  <a:pt x="275589" y="96392"/>
                </a:lnTo>
                <a:lnTo>
                  <a:pt x="313181" y="134112"/>
                </a:lnTo>
                <a:lnTo>
                  <a:pt x="157099" y="291210"/>
                </a:lnTo>
                <a:lnTo>
                  <a:pt x="347778" y="291210"/>
                </a:lnTo>
                <a:lnTo>
                  <a:pt x="352683" y="284856"/>
                </a:lnTo>
                <a:lnTo>
                  <a:pt x="371719" y="239627"/>
                </a:lnTo>
                <a:lnTo>
                  <a:pt x="378460" y="189229"/>
                </a:lnTo>
                <a:lnTo>
                  <a:pt x="371719" y="138832"/>
                </a:lnTo>
                <a:lnTo>
                  <a:pt x="353857" y="96392"/>
                </a:lnTo>
                <a:close/>
              </a:path>
              <a:path w="378460" h="378460">
                <a:moveTo>
                  <a:pt x="208605" y="163449"/>
                </a:moveTo>
                <a:lnTo>
                  <a:pt x="105663" y="163449"/>
                </a:lnTo>
                <a:lnTo>
                  <a:pt x="157099" y="215010"/>
                </a:lnTo>
                <a:lnTo>
                  <a:pt x="208605" y="1634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object 8">
            <a:extLst>
              <a:ext uri="{FF2B5EF4-FFF2-40B4-BE49-F238E27FC236}">
                <a16:creationId xmlns:a16="http://schemas.microsoft.com/office/drawing/2014/main" id="{A65F9FF5-B2B3-4643-90DB-B88756748112}"/>
              </a:ext>
            </a:extLst>
          </p:cNvPr>
          <p:cNvSpPr/>
          <p:nvPr userDrawn="1"/>
        </p:nvSpPr>
        <p:spPr>
          <a:xfrm>
            <a:off x="2906427" y="5127876"/>
            <a:ext cx="429768" cy="429768"/>
          </a:xfrm>
          <a:custGeom>
            <a:avLst/>
            <a:gdLst/>
            <a:ahLst/>
            <a:cxnLst/>
            <a:rect l="l" t="t" r="r" b="b"/>
            <a:pathLst>
              <a:path w="378460" h="378460">
                <a:moveTo>
                  <a:pt x="189230" y="0"/>
                </a:moveTo>
                <a:lnTo>
                  <a:pt x="138832" y="6740"/>
                </a:lnTo>
                <a:lnTo>
                  <a:pt x="93603" y="25776"/>
                </a:lnTo>
                <a:lnTo>
                  <a:pt x="55324" y="55324"/>
                </a:lnTo>
                <a:lnTo>
                  <a:pt x="25776" y="93603"/>
                </a:lnTo>
                <a:lnTo>
                  <a:pt x="6740" y="138832"/>
                </a:lnTo>
                <a:lnTo>
                  <a:pt x="0" y="189229"/>
                </a:lnTo>
                <a:lnTo>
                  <a:pt x="6740" y="239627"/>
                </a:lnTo>
                <a:lnTo>
                  <a:pt x="25776" y="284856"/>
                </a:lnTo>
                <a:lnTo>
                  <a:pt x="55324" y="323135"/>
                </a:lnTo>
                <a:lnTo>
                  <a:pt x="93603" y="352683"/>
                </a:lnTo>
                <a:lnTo>
                  <a:pt x="138832" y="371719"/>
                </a:lnTo>
                <a:lnTo>
                  <a:pt x="189230" y="378459"/>
                </a:lnTo>
                <a:lnTo>
                  <a:pt x="239627" y="371719"/>
                </a:lnTo>
                <a:lnTo>
                  <a:pt x="284856" y="352683"/>
                </a:lnTo>
                <a:lnTo>
                  <a:pt x="323135" y="323135"/>
                </a:lnTo>
                <a:lnTo>
                  <a:pt x="347778" y="291210"/>
                </a:lnTo>
                <a:lnTo>
                  <a:pt x="157099" y="291210"/>
                </a:lnTo>
                <a:lnTo>
                  <a:pt x="67944" y="202056"/>
                </a:lnTo>
                <a:lnTo>
                  <a:pt x="105663" y="163449"/>
                </a:lnTo>
                <a:lnTo>
                  <a:pt x="208605" y="163449"/>
                </a:lnTo>
                <a:lnTo>
                  <a:pt x="275589" y="96392"/>
                </a:lnTo>
                <a:lnTo>
                  <a:pt x="353857" y="96392"/>
                </a:lnTo>
                <a:lnTo>
                  <a:pt x="352683" y="93603"/>
                </a:lnTo>
                <a:lnTo>
                  <a:pt x="323135" y="55324"/>
                </a:lnTo>
                <a:lnTo>
                  <a:pt x="284856" y="25776"/>
                </a:lnTo>
                <a:lnTo>
                  <a:pt x="239627" y="6740"/>
                </a:lnTo>
                <a:lnTo>
                  <a:pt x="189230" y="0"/>
                </a:lnTo>
                <a:close/>
              </a:path>
              <a:path w="378460" h="378460">
                <a:moveTo>
                  <a:pt x="353857" y="96392"/>
                </a:moveTo>
                <a:lnTo>
                  <a:pt x="275589" y="96392"/>
                </a:lnTo>
                <a:lnTo>
                  <a:pt x="313181" y="134112"/>
                </a:lnTo>
                <a:lnTo>
                  <a:pt x="157099" y="291210"/>
                </a:lnTo>
                <a:lnTo>
                  <a:pt x="347778" y="291210"/>
                </a:lnTo>
                <a:lnTo>
                  <a:pt x="352683" y="284856"/>
                </a:lnTo>
                <a:lnTo>
                  <a:pt x="371719" y="239627"/>
                </a:lnTo>
                <a:lnTo>
                  <a:pt x="378460" y="189229"/>
                </a:lnTo>
                <a:lnTo>
                  <a:pt x="371719" y="138832"/>
                </a:lnTo>
                <a:lnTo>
                  <a:pt x="353857" y="96392"/>
                </a:lnTo>
                <a:close/>
              </a:path>
              <a:path w="378460" h="378460">
                <a:moveTo>
                  <a:pt x="208605" y="163449"/>
                </a:moveTo>
                <a:lnTo>
                  <a:pt x="105663" y="163449"/>
                </a:lnTo>
                <a:lnTo>
                  <a:pt x="157099" y="215010"/>
                </a:lnTo>
                <a:lnTo>
                  <a:pt x="208605" y="1634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2" name="object 6">
            <a:extLst>
              <a:ext uri="{FF2B5EF4-FFF2-40B4-BE49-F238E27FC236}">
                <a16:creationId xmlns:a16="http://schemas.microsoft.com/office/drawing/2014/main" id="{F8CE0C2E-D1E5-466A-A6E8-DA61BCB94A7E}"/>
              </a:ext>
            </a:extLst>
          </p:cNvPr>
          <p:cNvSpPr/>
          <p:nvPr userDrawn="1"/>
        </p:nvSpPr>
        <p:spPr>
          <a:xfrm>
            <a:off x="2906427" y="4269176"/>
            <a:ext cx="429768" cy="429768"/>
          </a:xfrm>
          <a:custGeom>
            <a:avLst/>
            <a:gdLst/>
            <a:ahLst/>
            <a:cxnLst/>
            <a:rect l="l" t="t" r="r" b="b"/>
            <a:pathLst>
              <a:path w="378460" h="378460">
                <a:moveTo>
                  <a:pt x="189230" y="0"/>
                </a:moveTo>
                <a:lnTo>
                  <a:pt x="138832" y="6740"/>
                </a:lnTo>
                <a:lnTo>
                  <a:pt x="93603" y="25776"/>
                </a:lnTo>
                <a:lnTo>
                  <a:pt x="55324" y="55324"/>
                </a:lnTo>
                <a:lnTo>
                  <a:pt x="25776" y="93603"/>
                </a:lnTo>
                <a:lnTo>
                  <a:pt x="6740" y="138832"/>
                </a:lnTo>
                <a:lnTo>
                  <a:pt x="0" y="189230"/>
                </a:lnTo>
                <a:lnTo>
                  <a:pt x="6740" y="239627"/>
                </a:lnTo>
                <a:lnTo>
                  <a:pt x="25776" y="284856"/>
                </a:lnTo>
                <a:lnTo>
                  <a:pt x="55324" y="323135"/>
                </a:lnTo>
                <a:lnTo>
                  <a:pt x="93603" y="352683"/>
                </a:lnTo>
                <a:lnTo>
                  <a:pt x="138832" y="371719"/>
                </a:lnTo>
                <a:lnTo>
                  <a:pt x="189230" y="378460"/>
                </a:lnTo>
                <a:lnTo>
                  <a:pt x="239627" y="371719"/>
                </a:lnTo>
                <a:lnTo>
                  <a:pt x="284856" y="352683"/>
                </a:lnTo>
                <a:lnTo>
                  <a:pt x="323135" y="323135"/>
                </a:lnTo>
                <a:lnTo>
                  <a:pt x="342974" y="297434"/>
                </a:lnTo>
                <a:lnTo>
                  <a:pt x="120523" y="297434"/>
                </a:lnTo>
                <a:lnTo>
                  <a:pt x="81025" y="257937"/>
                </a:lnTo>
                <a:lnTo>
                  <a:pt x="150494" y="189230"/>
                </a:lnTo>
                <a:lnTo>
                  <a:pt x="81025" y="120523"/>
                </a:lnTo>
                <a:lnTo>
                  <a:pt x="120523" y="81026"/>
                </a:lnTo>
                <a:lnTo>
                  <a:pt x="342974" y="81026"/>
                </a:lnTo>
                <a:lnTo>
                  <a:pt x="323135" y="55324"/>
                </a:lnTo>
                <a:lnTo>
                  <a:pt x="284856" y="25776"/>
                </a:lnTo>
                <a:lnTo>
                  <a:pt x="239627" y="6740"/>
                </a:lnTo>
                <a:lnTo>
                  <a:pt x="189230" y="0"/>
                </a:lnTo>
                <a:close/>
              </a:path>
              <a:path w="378460" h="378460">
                <a:moveTo>
                  <a:pt x="189230" y="227965"/>
                </a:moveTo>
                <a:lnTo>
                  <a:pt x="120523" y="297434"/>
                </a:lnTo>
                <a:lnTo>
                  <a:pt x="257937" y="297434"/>
                </a:lnTo>
                <a:lnTo>
                  <a:pt x="189230" y="227965"/>
                </a:lnTo>
                <a:close/>
              </a:path>
              <a:path w="378460" h="378460">
                <a:moveTo>
                  <a:pt x="342974" y="81026"/>
                </a:moveTo>
                <a:lnTo>
                  <a:pt x="257937" y="81026"/>
                </a:lnTo>
                <a:lnTo>
                  <a:pt x="297433" y="120523"/>
                </a:lnTo>
                <a:lnTo>
                  <a:pt x="227964" y="189230"/>
                </a:lnTo>
                <a:lnTo>
                  <a:pt x="297433" y="257937"/>
                </a:lnTo>
                <a:lnTo>
                  <a:pt x="257937" y="297434"/>
                </a:lnTo>
                <a:lnTo>
                  <a:pt x="342974" y="297434"/>
                </a:lnTo>
                <a:lnTo>
                  <a:pt x="352683" y="284856"/>
                </a:lnTo>
                <a:lnTo>
                  <a:pt x="371719" y="239627"/>
                </a:lnTo>
                <a:lnTo>
                  <a:pt x="378460" y="189230"/>
                </a:lnTo>
                <a:lnTo>
                  <a:pt x="371719" y="138832"/>
                </a:lnTo>
                <a:lnTo>
                  <a:pt x="352683" y="93603"/>
                </a:lnTo>
                <a:lnTo>
                  <a:pt x="342974" y="81026"/>
                </a:lnTo>
                <a:close/>
              </a:path>
              <a:path w="378460" h="378460">
                <a:moveTo>
                  <a:pt x="257937" y="81026"/>
                </a:moveTo>
                <a:lnTo>
                  <a:pt x="120523" y="81026"/>
                </a:lnTo>
                <a:lnTo>
                  <a:pt x="189230" y="150495"/>
                </a:lnTo>
                <a:lnTo>
                  <a:pt x="257937" y="810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D691BC9-8EDC-4DB4-8F69-FE8768474208}"/>
              </a:ext>
            </a:extLst>
          </p:cNvPr>
          <p:cNvSpPr/>
          <p:nvPr userDrawn="1"/>
        </p:nvSpPr>
        <p:spPr>
          <a:xfrm>
            <a:off x="3467573" y="1621765"/>
            <a:ext cx="47824" cy="57351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F801F5E4-9B5F-4974-AB59-77EC86EC75E0}"/>
              </a:ext>
            </a:extLst>
          </p:cNvPr>
          <p:cNvSpPr/>
          <p:nvPr userDrawn="1"/>
        </p:nvSpPr>
        <p:spPr>
          <a:xfrm>
            <a:off x="3467573" y="2480325"/>
            <a:ext cx="47824" cy="57351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64486DF9-9D33-450E-9387-2C8233E9837B}"/>
              </a:ext>
            </a:extLst>
          </p:cNvPr>
          <p:cNvSpPr/>
          <p:nvPr userDrawn="1"/>
        </p:nvSpPr>
        <p:spPr>
          <a:xfrm>
            <a:off x="3467573" y="3338885"/>
            <a:ext cx="47824" cy="57351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C10A4E2-F2A8-40C7-9686-E9FC9C4B20E8}"/>
              </a:ext>
            </a:extLst>
          </p:cNvPr>
          <p:cNvSpPr/>
          <p:nvPr userDrawn="1"/>
        </p:nvSpPr>
        <p:spPr>
          <a:xfrm>
            <a:off x="3467573" y="4197445"/>
            <a:ext cx="47824" cy="57351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CFA8433B-CE7C-4C7C-A913-BC0FC9D2807A}"/>
              </a:ext>
            </a:extLst>
          </p:cNvPr>
          <p:cNvSpPr/>
          <p:nvPr userDrawn="1"/>
        </p:nvSpPr>
        <p:spPr>
          <a:xfrm>
            <a:off x="3467573" y="5056005"/>
            <a:ext cx="47824" cy="57351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A034D62-11D2-4A46-B560-65611450EF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261" y="301056"/>
            <a:ext cx="1317039" cy="36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121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…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10">
            <a:extLst>
              <a:ext uri="{FF2B5EF4-FFF2-40B4-BE49-F238E27FC236}">
                <a16:creationId xmlns:a16="http://schemas.microsoft.com/office/drawing/2014/main" id="{C85EEC8F-AB6B-42C0-A4B4-D8C45E954F5D}"/>
              </a:ext>
            </a:extLst>
          </p:cNvPr>
          <p:cNvCxnSpPr>
            <a:cxnSpLocks/>
          </p:cNvCxnSpPr>
          <p:nvPr userDrawn="1"/>
        </p:nvCxnSpPr>
        <p:spPr>
          <a:xfrm flipV="1">
            <a:off x="6692629" y="1638004"/>
            <a:ext cx="1780165" cy="1332063"/>
          </a:xfrm>
          <a:prstGeom prst="bentConnector3">
            <a:avLst>
              <a:gd name="adj1" fmla="val -274"/>
            </a:avLst>
          </a:prstGeom>
          <a:ln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124">
            <a:extLst>
              <a:ext uri="{FF2B5EF4-FFF2-40B4-BE49-F238E27FC236}">
                <a16:creationId xmlns:a16="http://schemas.microsoft.com/office/drawing/2014/main" id="{5BA384F1-C03F-417B-9DFA-70B193097D6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7140112" y="4105160"/>
            <a:ext cx="1332682" cy="758972"/>
          </a:xfrm>
          <a:prstGeom prst="bentConnector3">
            <a:avLst>
              <a:gd name="adj1" fmla="val 98905"/>
            </a:avLst>
          </a:prstGeom>
          <a:ln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132">
            <a:extLst>
              <a:ext uri="{FF2B5EF4-FFF2-40B4-BE49-F238E27FC236}">
                <a16:creationId xmlns:a16="http://schemas.microsoft.com/office/drawing/2014/main" id="{987DC47C-89DD-4122-9455-74BB426543D1}"/>
              </a:ext>
            </a:extLst>
          </p:cNvPr>
          <p:cNvCxnSpPr>
            <a:cxnSpLocks/>
          </p:cNvCxnSpPr>
          <p:nvPr userDrawn="1"/>
        </p:nvCxnSpPr>
        <p:spPr>
          <a:xfrm flipV="1">
            <a:off x="2845272" y="4134436"/>
            <a:ext cx="1597847" cy="529168"/>
          </a:xfrm>
          <a:prstGeom prst="bentConnector3">
            <a:avLst>
              <a:gd name="adj1" fmla="val -530"/>
            </a:avLst>
          </a:prstGeom>
          <a:ln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138">
            <a:extLst>
              <a:ext uri="{FF2B5EF4-FFF2-40B4-BE49-F238E27FC236}">
                <a16:creationId xmlns:a16="http://schemas.microsoft.com/office/drawing/2014/main" id="{76FAFB6D-9E08-4714-93D2-FBDE5662CC36}"/>
              </a:ext>
            </a:extLst>
          </p:cNvPr>
          <p:cNvCxnSpPr>
            <a:cxnSpLocks/>
          </p:cNvCxnSpPr>
          <p:nvPr userDrawn="1"/>
        </p:nvCxnSpPr>
        <p:spPr>
          <a:xfrm>
            <a:off x="3720910" y="1696490"/>
            <a:ext cx="1150621" cy="270012"/>
          </a:xfrm>
          <a:prstGeom prst="bentConnector3">
            <a:avLst>
              <a:gd name="adj1" fmla="val 99880"/>
            </a:avLst>
          </a:prstGeom>
          <a:ln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자유형: 도형 21">
            <a:extLst>
              <a:ext uri="{FF2B5EF4-FFF2-40B4-BE49-F238E27FC236}">
                <a16:creationId xmlns:a16="http://schemas.microsoft.com/office/drawing/2014/main" id="{9EC47DD1-935A-45BF-98EC-1ACA9CCF4372}"/>
              </a:ext>
            </a:extLst>
          </p:cNvPr>
          <p:cNvSpPr/>
          <p:nvPr/>
        </p:nvSpPr>
        <p:spPr>
          <a:xfrm>
            <a:off x="5151490" y="2736975"/>
            <a:ext cx="1810271" cy="1814543"/>
          </a:xfrm>
          <a:custGeom>
            <a:avLst/>
            <a:gdLst>
              <a:gd name="connsiteX0" fmla="*/ 1702614 w 1792010"/>
              <a:gd name="connsiteY0" fmla="*/ 878442 h 1796239"/>
              <a:gd name="connsiteX1" fmla="*/ 1710060 w 1792010"/>
              <a:gd name="connsiteY1" fmla="*/ 883022 h 1796239"/>
              <a:gd name="connsiteX2" fmla="*/ 1702614 w 1792010"/>
              <a:gd name="connsiteY2" fmla="*/ 881183 h 1796239"/>
              <a:gd name="connsiteX3" fmla="*/ 896004 w 1792010"/>
              <a:gd name="connsiteY3" fmla="*/ 384279 h 1796239"/>
              <a:gd name="connsiteX4" fmla="*/ 379479 w 1792010"/>
              <a:gd name="connsiteY4" fmla="*/ 900804 h 1796239"/>
              <a:gd name="connsiteX5" fmla="*/ 896004 w 1792010"/>
              <a:gd name="connsiteY5" fmla="*/ 1417329 h 1796239"/>
              <a:gd name="connsiteX6" fmla="*/ 1412529 w 1792010"/>
              <a:gd name="connsiteY6" fmla="*/ 900804 h 1796239"/>
              <a:gd name="connsiteX7" fmla="*/ 896004 w 1792010"/>
              <a:gd name="connsiteY7" fmla="*/ 384279 h 1796239"/>
              <a:gd name="connsiteX8" fmla="*/ 998892 w 1792010"/>
              <a:gd name="connsiteY8" fmla="*/ 0 h 1796239"/>
              <a:gd name="connsiteX9" fmla="*/ 1263685 w 1792010"/>
              <a:gd name="connsiteY9" fmla="*/ 70112 h 1796239"/>
              <a:gd name="connsiteX10" fmla="*/ 1259890 w 1792010"/>
              <a:gd name="connsiteY10" fmla="*/ 292970 h 1796239"/>
              <a:gd name="connsiteX11" fmla="*/ 1252964 w 1792010"/>
              <a:gd name="connsiteY11" fmla="*/ 291136 h 1796239"/>
              <a:gd name="connsiteX12" fmla="*/ 1403555 w 1792010"/>
              <a:gd name="connsiteY12" fmla="*/ 406648 h 1796239"/>
              <a:gd name="connsiteX13" fmla="*/ 1604328 w 1792010"/>
              <a:gd name="connsiteY13" fmla="*/ 357315 h 1796239"/>
              <a:gd name="connsiteX14" fmla="*/ 1733027 w 1792010"/>
              <a:gd name="connsiteY14" fmla="*/ 596499 h 1796239"/>
              <a:gd name="connsiteX15" fmla="*/ 1589970 w 1792010"/>
              <a:gd name="connsiteY15" fmla="*/ 723947 h 1796239"/>
              <a:gd name="connsiteX16" fmla="*/ 1613321 w 1792010"/>
              <a:gd name="connsiteY16" fmla="*/ 924788 h 1796239"/>
              <a:gd name="connsiteX17" fmla="*/ 1792010 w 1792010"/>
              <a:gd name="connsiteY17" fmla="*/ 1022811 h 1796239"/>
              <a:gd name="connsiteX18" fmla="*/ 1721058 w 1792010"/>
              <a:gd name="connsiteY18" fmla="*/ 1284473 h 1796239"/>
              <a:gd name="connsiteX19" fmla="*/ 1504230 w 1792010"/>
              <a:gd name="connsiteY19" fmla="*/ 1280870 h 1796239"/>
              <a:gd name="connsiteX20" fmla="*/ 1406384 w 1792010"/>
              <a:gd name="connsiteY20" fmla="*/ 1403402 h 1796239"/>
              <a:gd name="connsiteX21" fmla="*/ 1477592 w 1792010"/>
              <a:gd name="connsiteY21" fmla="*/ 1587057 h 1796239"/>
              <a:gd name="connsiteX22" fmla="*/ 1253035 w 1792010"/>
              <a:gd name="connsiteY22" fmla="*/ 1742435 h 1796239"/>
              <a:gd name="connsiteX23" fmla="*/ 1163834 w 1792010"/>
              <a:gd name="connsiteY23" fmla="*/ 1665910 h 1796239"/>
              <a:gd name="connsiteX24" fmla="*/ 1163667 w 1792010"/>
              <a:gd name="connsiteY24" fmla="*/ 1666097 h 1796239"/>
              <a:gd name="connsiteX25" fmla="*/ 1144343 w 1792010"/>
              <a:gd name="connsiteY25" fmla="*/ 1649188 h 1796239"/>
              <a:gd name="connsiteX26" fmla="*/ 1082710 w 1792010"/>
              <a:gd name="connsiteY26" fmla="*/ 1596313 h 1796239"/>
              <a:gd name="connsiteX27" fmla="*/ 1083384 w 1792010"/>
              <a:gd name="connsiteY27" fmla="*/ 1595846 h 1796239"/>
              <a:gd name="connsiteX28" fmla="*/ 1076108 w 1792010"/>
              <a:gd name="connsiteY28" fmla="*/ 1589478 h 1796239"/>
              <a:gd name="connsiteX29" fmla="*/ 898869 w 1792010"/>
              <a:gd name="connsiteY29" fmla="*/ 1612479 h 1796239"/>
              <a:gd name="connsiteX30" fmla="*/ 795635 w 1792010"/>
              <a:gd name="connsiteY30" fmla="*/ 1796239 h 1796239"/>
              <a:gd name="connsiteX31" fmla="*/ 530840 w 1792010"/>
              <a:gd name="connsiteY31" fmla="*/ 1726127 h 1796239"/>
              <a:gd name="connsiteX32" fmla="*/ 534419 w 1792010"/>
              <a:gd name="connsiteY32" fmla="*/ 1515981 h 1796239"/>
              <a:gd name="connsiteX33" fmla="*/ 384791 w 1792010"/>
              <a:gd name="connsiteY33" fmla="*/ 1400008 h 1796239"/>
              <a:gd name="connsiteX34" fmla="*/ 388223 w 1792010"/>
              <a:gd name="connsiteY34" fmla="*/ 1407281 h 1796239"/>
              <a:gd name="connsiteX35" fmla="*/ 166784 w 1792010"/>
              <a:gd name="connsiteY35" fmla="*/ 1449671 h 1796239"/>
              <a:gd name="connsiteX36" fmla="*/ 50929 w 1792010"/>
              <a:gd name="connsiteY36" fmla="*/ 1204159 h 1796239"/>
              <a:gd name="connsiteX37" fmla="*/ 200689 w 1792010"/>
              <a:gd name="connsiteY37" fmla="*/ 1084166 h 1796239"/>
              <a:gd name="connsiteX38" fmla="*/ 176341 w 1792010"/>
              <a:gd name="connsiteY38" fmla="*/ 904529 h 1796239"/>
              <a:gd name="connsiteX39" fmla="*/ 0 w 1792010"/>
              <a:gd name="connsiteY39" fmla="*/ 807794 h 1796239"/>
              <a:gd name="connsiteX40" fmla="*/ 70951 w 1792010"/>
              <a:gd name="connsiteY40" fmla="*/ 546132 h 1796239"/>
              <a:gd name="connsiteX41" fmla="*/ 273028 w 1792010"/>
              <a:gd name="connsiteY41" fmla="*/ 549491 h 1796239"/>
              <a:gd name="connsiteX42" fmla="*/ 370996 w 1792010"/>
              <a:gd name="connsiteY42" fmla="*/ 419078 h 1796239"/>
              <a:gd name="connsiteX43" fmla="*/ 303314 w 1792010"/>
              <a:gd name="connsiteY43" fmla="*/ 212794 h 1796239"/>
              <a:gd name="connsiteX44" fmla="*/ 535794 w 1792010"/>
              <a:gd name="connsiteY44" fmla="*/ 69242 h 1796239"/>
              <a:gd name="connsiteX45" fmla="*/ 698144 w 1792010"/>
              <a:gd name="connsiteY45" fmla="*/ 223973 h 1796239"/>
              <a:gd name="connsiteX46" fmla="*/ 696512 w 1792010"/>
              <a:gd name="connsiteY46" fmla="*/ 224981 h 1796239"/>
              <a:gd name="connsiteX47" fmla="*/ 896341 w 1792010"/>
              <a:gd name="connsiteY47" fmla="*/ 196709 h 1796239"/>
              <a:gd name="connsiteX48" fmla="*/ 889414 w 1792010"/>
              <a:gd name="connsiteY48" fmla="*/ 194876 h 1796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92010" h="1796239">
                <a:moveTo>
                  <a:pt x="1702614" y="878442"/>
                </a:moveTo>
                <a:lnTo>
                  <a:pt x="1710060" y="883022"/>
                </a:lnTo>
                <a:lnTo>
                  <a:pt x="1702614" y="881183"/>
                </a:lnTo>
                <a:close/>
                <a:moveTo>
                  <a:pt x="896004" y="384279"/>
                </a:moveTo>
                <a:cubicBezTo>
                  <a:pt x="610735" y="384279"/>
                  <a:pt x="379479" y="615535"/>
                  <a:pt x="379479" y="900804"/>
                </a:cubicBezTo>
                <a:cubicBezTo>
                  <a:pt x="379479" y="1186073"/>
                  <a:pt x="610735" y="1417329"/>
                  <a:pt x="896004" y="1417329"/>
                </a:cubicBezTo>
                <a:cubicBezTo>
                  <a:pt x="1181273" y="1417329"/>
                  <a:pt x="1412529" y="1186073"/>
                  <a:pt x="1412529" y="900804"/>
                </a:cubicBezTo>
                <a:cubicBezTo>
                  <a:pt x="1412529" y="615535"/>
                  <a:pt x="1181273" y="384279"/>
                  <a:pt x="896004" y="384279"/>
                </a:cubicBezTo>
                <a:close/>
                <a:moveTo>
                  <a:pt x="998892" y="0"/>
                </a:moveTo>
                <a:lnTo>
                  <a:pt x="1263685" y="70112"/>
                </a:lnTo>
                <a:lnTo>
                  <a:pt x="1259890" y="292970"/>
                </a:lnTo>
                <a:lnTo>
                  <a:pt x="1252964" y="291136"/>
                </a:lnTo>
                <a:cubicBezTo>
                  <a:pt x="1309401" y="322522"/>
                  <a:pt x="1360410" y="361009"/>
                  <a:pt x="1403555" y="406648"/>
                </a:cubicBezTo>
                <a:lnTo>
                  <a:pt x="1604328" y="357315"/>
                </a:lnTo>
                <a:lnTo>
                  <a:pt x="1733027" y="596499"/>
                </a:lnTo>
                <a:lnTo>
                  <a:pt x="1589970" y="723947"/>
                </a:lnTo>
                <a:cubicBezTo>
                  <a:pt x="1607903" y="788494"/>
                  <a:pt x="1616355" y="856084"/>
                  <a:pt x="1613321" y="924788"/>
                </a:cubicBezTo>
                <a:lnTo>
                  <a:pt x="1792010" y="1022811"/>
                </a:lnTo>
                <a:lnTo>
                  <a:pt x="1721058" y="1284473"/>
                </a:lnTo>
                <a:lnTo>
                  <a:pt x="1504230" y="1280870"/>
                </a:lnTo>
                <a:cubicBezTo>
                  <a:pt x="1476815" y="1326134"/>
                  <a:pt x="1443601" y="1366958"/>
                  <a:pt x="1406384" y="1403402"/>
                </a:cubicBezTo>
                <a:lnTo>
                  <a:pt x="1477592" y="1587057"/>
                </a:lnTo>
                <a:lnTo>
                  <a:pt x="1253035" y="1742435"/>
                </a:lnTo>
                <a:lnTo>
                  <a:pt x="1163834" y="1665910"/>
                </a:lnTo>
                <a:lnTo>
                  <a:pt x="1163667" y="1666097"/>
                </a:lnTo>
                <a:lnTo>
                  <a:pt x="1144343" y="1649188"/>
                </a:lnTo>
                <a:lnTo>
                  <a:pt x="1082710" y="1596313"/>
                </a:lnTo>
                <a:lnTo>
                  <a:pt x="1083384" y="1595846"/>
                </a:lnTo>
                <a:lnTo>
                  <a:pt x="1076108" y="1589478"/>
                </a:lnTo>
                <a:cubicBezTo>
                  <a:pt x="1019150" y="1605403"/>
                  <a:pt x="959511" y="1612813"/>
                  <a:pt x="898869" y="1612479"/>
                </a:cubicBezTo>
                <a:lnTo>
                  <a:pt x="795635" y="1796239"/>
                </a:lnTo>
                <a:lnTo>
                  <a:pt x="530840" y="1726127"/>
                </a:lnTo>
                <a:lnTo>
                  <a:pt x="534419" y="1515981"/>
                </a:lnTo>
                <a:cubicBezTo>
                  <a:pt x="478307" y="1484379"/>
                  <a:pt x="427627" y="1445732"/>
                  <a:pt x="384791" y="1400008"/>
                </a:cubicBezTo>
                <a:lnTo>
                  <a:pt x="388223" y="1407281"/>
                </a:lnTo>
                <a:lnTo>
                  <a:pt x="166784" y="1449671"/>
                </a:lnTo>
                <a:lnTo>
                  <a:pt x="50929" y="1204159"/>
                </a:lnTo>
                <a:lnTo>
                  <a:pt x="200689" y="1084166"/>
                </a:lnTo>
                <a:cubicBezTo>
                  <a:pt x="184704" y="1026270"/>
                  <a:pt x="176353" y="965934"/>
                  <a:pt x="176341" y="904529"/>
                </a:cubicBezTo>
                <a:lnTo>
                  <a:pt x="0" y="807794"/>
                </a:lnTo>
                <a:lnTo>
                  <a:pt x="70951" y="546132"/>
                </a:lnTo>
                <a:lnTo>
                  <a:pt x="273028" y="549491"/>
                </a:lnTo>
                <a:cubicBezTo>
                  <a:pt x="300443" y="501683"/>
                  <a:pt x="333547" y="458094"/>
                  <a:pt x="370996" y="419078"/>
                </a:cubicBezTo>
                <a:lnTo>
                  <a:pt x="303314" y="212794"/>
                </a:lnTo>
                <a:lnTo>
                  <a:pt x="535794" y="69242"/>
                </a:lnTo>
                <a:lnTo>
                  <a:pt x="698144" y="223973"/>
                </a:lnTo>
                <a:lnTo>
                  <a:pt x="696512" y="224981"/>
                </a:lnTo>
                <a:cubicBezTo>
                  <a:pt x="760334" y="205136"/>
                  <a:pt x="827716" y="195964"/>
                  <a:pt x="896341" y="196709"/>
                </a:cubicBezTo>
                <a:lnTo>
                  <a:pt x="889414" y="194876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0" name="자유형: 도형 22">
            <a:extLst>
              <a:ext uri="{FF2B5EF4-FFF2-40B4-BE49-F238E27FC236}">
                <a16:creationId xmlns:a16="http://schemas.microsoft.com/office/drawing/2014/main" id="{A0F395AC-3451-48C0-8F8A-EF658732F5E9}"/>
              </a:ext>
            </a:extLst>
          </p:cNvPr>
          <p:cNvSpPr/>
          <p:nvPr/>
        </p:nvSpPr>
        <p:spPr>
          <a:xfrm>
            <a:off x="6952735" y="3068319"/>
            <a:ext cx="1254243" cy="1257203"/>
          </a:xfrm>
          <a:custGeom>
            <a:avLst/>
            <a:gdLst>
              <a:gd name="connsiteX0" fmla="*/ 1702614 w 1792010"/>
              <a:gd name="connsiteY0" fmla="*/ 878442 h 1796239"/>
              <a:gd name="connsiteX1" fmla="*/ 1710060 w 1792010"/>
              <a:gd name="connsiteY1" fmla="*/ 883022 h 1796239"/>
              <a:gd name="connsiteX2" fmla="*/ 1702614 w 1792010"/>
              <a:gd name="connsiteY2" fmla="*/ 881183 h 1796239"/>
              <a:gd name="connsiteX3" fmla="*/ 896004 w 1792010"/>
              <a:gd name="connsiteY3" fmla="*/ 384279 h 1796239"/>
              <a:gd name="connsiteX4" fmla="*/ 379479 w 1792010"/>
              <a:gd name="connsiteY4" fmla="*/ 900804 h 1796239"/>
              <a:gd name="connsiteX5" fmla="*/ 896004 w 1792010"/>
              <a:gd name="connsiteY5" fmla="*/ 1417329 h 1796239"/>
              <a:gd name="connsiteX6" fmla="*/ 1412529 w 1792010"/>
              <a:gd name="connsiteY6" fmla="*/ 900804 h 1796239"/>
              <a:gd name="connsiteX7" fmla="*/ 896004 w 1792010"/>
              <a:gd name="connsiteY7" fmla="*/ 384279 h 1796239"/>
              <a:gd name="connsiteX8" fmla="*/ 998892 w 1792010"/>
              <a:gd name="connsiteY8" fmla="*/ 0 h 1796239"/>
              <a:gd name="connsiteX9" fmla="*/ 1263685 w 1792010"/>
              <a:gd name="connsiteY9" fmla="*/ 70112 h 1796239"/>
              <a:gd name="connsiteX10" fmla="*/ 1259890 w 1792010"/>
              <a:gd name="connsiteY10" fmla="*/ 292970 h 1796239"/>
              <a:gd name="connsiteX11" fmla="*/ 1252964 w 1792010"/>
              <a:gd name="connsiteY11" fmla="*/ 291136 h 1796239"/>
              <a:gd name="connsiteX12" fmla="*/ 1403555 w 1792010"/>
              <a:gd name="connsiteY12" fmla="*/ 406648 h 1796239"/>
              <a:gd name="connsiteX13" fmla="*/ 1604328 w 1792010"/>
              <a:gd name="connsiteY13" fmla="*/ 357315 h 1796239"/>
              <a:gd name="connsiteX14" fmla="*/ 1733027 w 1792010"/>
              <a:gd name="connsiteY14" fmla="*/ 596499 h 1796239"/>
              <a:gd name="connsiteX15" fmla="*/ 1589970 w 1792010"/>
              <a:gd name="connsiteY15" fmla="*/ 723947 h 1796239"/>
              <a:gd name="connsiteX16" fmla="*/ 1613321 w 1792010"/>
              <a:gd name="connsiteY16" fmla="*/ 924788 h 1796239"/>
              <a:gd name="connsiteX17" fmla="*/ 1792010 w 1792010"/>
              <a:gd name="connsiteY17" fmla="*/ 1022811 h 1796239"/>
              <a:gd name="connsiteX18" fmla="*/ 1721058 w 1792010"/>
              <a:gd name="connsiteY18" fmla="*/ 1284473 h 1796239"/>
              <a:gd name="connsiteX19" fmla="*/ 1504230 w 1792010"/>
              <a:gd name="connsiteY19" fmla="*/ 1280870 h 1796239"/>
              <a:gd name="connsiteX20" fmla="*/ 1406384 w 1792010"/>
              <a:gd name="connsiteY20" fmla="*/ 1403402 h 1796239"/>
              <a:gd name="connsiteX21" fmla="*/ 1477592 w 1792010"/>
              <a:gd name="connsiteY21" fmla="*/ 1587057 h 1796239"/>
              <a:gd name="connsiteX22" fmla="*/ 1253035 w 1792010"/>
              <a:gd name="connsiteY22" fmla="*/ 1742435 h 1796239"/>
              <a:gd name="connsiteX23" fmla="*/ 1163834 w 1792010"/>
              <a:gd name="connsiteY23" fmla="*/ 1665910 h 1796239"/>
              <a:gd name="connsiteX24" fmla="*/ 1163667 w 1792010"/>
              <a:gd name="connsiteY24" fmla="*/ 1666097 h 1796239"/>
              <a:gd name="connsiteX25" fmla="*/ 1144343 w 1792010"/>
              <a:gd name="connsiteY25" fmla="*/ 1649188 h 1796239"/>
              <a:gd name="connsiteX26" fmla="*/ 1082710 w 1792010"/>
              <a:gd name="connsiteY26" fmla="*/ 1596313 h 1796239"/>
              <a:gd name="connsiteX27" fmla="*/ 1083384 w 1792010"/>
              <a:gd name="connsiteY27" fmla="*/ 1595846 h 1796239"/>
              <a:gd name="connsiteX28" fmla="*/ 1076108 w 1792010"/>
              <a:gd name="connsiteY28" fmla="*/ 1589478 h 1796239"/>
              <a:gd name="connsiteX29" fmla="*/ 898869 w 1792010"/>
              <a:gd name="connsiteY29" fmla="*/ 1612479 h 1796239"/>
              <a:gd name="connsiteX30" fmla="*/ 795635 w 1792010"/>
              <a:gd name="connsiteY30" fmla="*/ 1796239 h 1796239"/>
              <a:gd name="connsiteX31" fmla="*/ 530840 w 1792010"/>
              <a:gd name="connsiteY31" fmla="*/ 1726127 h 1796239"/>
              <a:gd name="connsiteX32" fmla="*/ 534419 w 1792010"/>
              <a:gd name="connsiteY32" fmla="*/ 1515981 h 1796239"/>
              <a:gd name="connsiteX33" fmla="*/ 384791 w 1792010"/>
              <a:gd name="connsiteY33" fmla="*/ 1400008 h 1796239"/>
              <a:gd name="connsiteX34" fmla="*/ 388223 w 1792010"/>
              <a:gd name="connsiteY34" fmla="*/ 1407281 h 1796239"/>
              <a:gd name="connsiteX35" fmla="*/ 166784 w 1792010"/>
              <a:gd name="connsiteY35" fmla="*/ 1449671 h 1796239"/>
              <a:gd name="connsiteX36" fmla="*/ 50929 w 1792010"/>
              <a:gd name="connsiteY36" fmla="*/ 1204159 h 1796239"/>
              <a:gd name="connsiteX37" fmla="*/ 200689 w 1792010"/>
              <a:gd name="connsiteY37" fmla="*/ 1084166 h 1796239"/>
              <a:gd name="connsiteX38" fmla="*/ 176341 w 1792010"/>
              <a:gd name="connsiteY38" fmla="*/ 904529 h 1796239"/>
              <a:gd name="connsiteX39" fmla="*/ 0 w 1792010"/>
              <a:gd name="connsiteY39" fmla="*/ 807794 h 1796239"/>
              <a:gd name="connsiteX40" fmla="*/ 70951 w 1792010"/>
              <a:gd name="connsiteY40" fmla="*/ 546132 h 1796239"/>
              <a:gd name="connsiteX41" fmla="*/ 273028 w 1792010"/>
              <a:gd name="connsiteY41" fmla="*/ 549491 h 1796239"/>
              <a:gd name="connsiteX42" fmla="*/ 370996 w 1792010"/>
              <a:gd name="connsiteY42" fmla="*/ 419078 h 1796239"/>
              <a:gd name="connsiteX43" fmla="*/ 303314 w 1792010"/>
              <a:gd name="connsiteY43" fmla="*/ 212794 h 1796239"/>
              <a:gd name="connsiteX44" fmla="*/ 535794 w 1792010"/>
              <a:gd name="connsiteY44" fmla="*/ 69242 h 1796239"/>
              <a:gd name="connsiteX45" fmla="*/ 698144 w 1792010"/>
              <a:gd name="connsiteY45" fmla="*/ 223973 h 1796239"/>
              <a:gd name="connsiteX46" fmla="*/ 696512 w 1792010"/>
              <a:gd name="connsiteY46" fmla="*/ 224981 h 1796239"/>
              <a:gd name="connsiteX47" fmla="*/ 896341 w 1792010"/>
              <a:gd name="connsiteY47" fmla="*/ 196709 h 1796239"/>
              <a:gd name="connsiteX48" fmla="*/ 889414 w 1792010"/>
              <a:gd name="connsiteY48" fmla="*/ 194876 h 1796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92010" h="1796239">
                <a:moveTo>
                  <a:pt x="1702614" y="878442"/>
                </a:moveTo>
                <a:lnTo>
                  <a:pt x="1710060" y="883022"/>
                </a:lnTo>
                <a:lnTo>
                  <a:pt x="1702614" y="881183"/>
                </a:lnTo>
                <a:close/>
                <a:moveTo>
                  <a:pt x="896004" y="384279"/>
                </a:moveTo>
                <a:cubicBezTo>
                  <a:pt x="610735" y="384279"/>
                  <a:pt x="379479" y="615535"/>
                  <a:pt x="379479" y="900804"/>
                </a:cubicBezTo>
                <a:cubicBezTo>
                  <a:pt x="379479" y="1186073"/>
                  <a:pt x="610735" y="1417329"/>
                  <a:pt x="896004" y="1417329"/>
                </a:cubicBezTo>
                <a:cubicBezTo>
                  <a:pt x="1181273" y="1417329"/>
                  <a:pt x="1412529" y="1186073"/>
                  <a:pt x="1412529" y="900804"/>
                </a:cubicBezTo>
                <a:cubicBezTo>
                  <a:pt x="1412529" y="615535"/>
                  <a:pt x="1181273" y="384279"/>
                  <a:pt x="896004" y="384279"/>
                </a:cubicBezTo>
                <a:close/>
                <a:moveTo>
                  <a:pt x="998892" y="0"/>
                </a:moveTo>
                <a:lnTo>
                  <a:pt x="1263685" y="70112"/>
                </a:lnTo>
                <a:lnTo>
                  <a:pt x="1259890" y="292970"/>
                </a:lnTo>
                <a:lnTo>
                  <a:pt x="1252964" y="291136"/>
                </a:lnTo>
                <a:cubicBezTo>
                  <a:pt x="1309401" y="322522"/>
                  <a:pt x="1360410" y="361009"/>
                  <a:pt x="1403555" y="406648"/>
                </a:cubicBezTo>
                <a:lnTo>
                  <a:pt x="1604328" y="357315"/>
                </a:lnTo>
                <a:lnTo>
                  <a:pt x="1733027" y="596499"/>
                </a:lnTo>
                <a:lnTo>
                  <a:pt x="1589970" y="723947"/>
                </a:lnTo>
                <a:cubicBezTo>
                  <a:pt x="1607903" y="788494"/>
                  <a:pt x="1616355" y="856084"/>
                  <a:pt x="1613321" y="924788"/>
                </a:cubicBezTo>
                <a:lnTo>
                  <a:pt x="1792010" y="1022811"/>
                </a:lnTo>
                <a:lnTo>
                  <a:pt x="1721058" y="1284473"/>
                </a:lnTo>
                <a:lnTo>
                  <a:pt x="1504230" y="1280870"/>
                </a:lnTo>
                <a:cubicBezTo>
                  <a:pt x="1476815" y="1326134"/>
                  <a:pt x="1443601" y="1366958"/>
                  <a:pt x="1406384" y="1403402"/>
                </a:cubicBezTo>
                <a:lnTo>
                  <a:pt x="1477592" y="1587057"/>
                </a:lnTo>
                <a:lnTo>
                  <a:pt x="1253035" y="1742435"/>
                </a:lnTo>
                <a:lnTo>
                  <a:pt x="1163834" y="1665910"/>
                </a:lnTo>
                <a:lnTo>
                  <a:pt x="1163667" y="1666097"/>
                </a:lnTo>
                <a:lnTo>
                  <a:pt x="1144343" y="1649188"/>
                </a:lnTo>
                <a:lnTo>
                  <a:pt x="1082710" y="1596313"/>
                </a:lnTo>
                <a:lnTo>
                  <a:pt x="1083384" y="1595846"/>
                </a:lnTo>
                <a:lnTo>
                  <a:pt x="1076108" y="1589478"/>
                </a:lnTo>
                <a:cubicBezTo>
                  <a:pt x="1019150" y="1605403"/>
                  <a:pt x="959511" y="1612813"/>
                  <a:pt x="898869" y="1612479"/>
                </a:cubicBezTo>
                <a:lnTo>
                  <a:pt x="795635" y="1796239"/>
                </a:lnTo>
                <a:lnTo>
                  <a:pt x="530840" y="1726127"/>
                </a:lnTo>
                <a:lnTo>
                  <a:pt x="534419" y="1515981"/>
                </a:lnTo>
                <a:cubicBezTo>
                  <a:pt x="478307" y="1484379"/>
                  <a:pt x="427627" y="1445732"/>
                  <a:pt x="384791" y="1400008"/>
                </a:cubicBezTo>
                <a:lnTo>
                  <a:pt x="388223" y="1407281"/>
                </a:lnTo>
                <a:lnTo>
                  <a:pt x="166784" y="1449671"/>
                </a:lnTo>
                <a:lnTo>
                  <a:pt x="50929" y="1204159"/>
                </a:lnTo>
                <a:lnTo>
                  <a:pt x="200689" y="1084166"/>
                </a:lnTo>
                <a:cubicBezTo>
                  <a:pt x="184704" y="1026270"/>
                  <a:pt x="176353" y="965934"/>
                  <a:pt x="176341" y="904529"/>
                </a:cubicBezTo>
                <a:lnTo>
                  <a:pt x="0" y="807794"/>
                </a:lnTo>
                <a:lnTo>
                  <a:pt x="70951" y="546132"/>
                </a:lnTo>
                <a:lnTo>
                  <a:pt x="273028" y="549491"/>
                </a:lnTo>
                <a:cubicBezTo>
                  <a:pt x="300443" y="501683"/>
                  <a:pt x="333547" y="458094"/>
                  <a:pt x="370996" y="419078"/>
                </a:cubicBezTo>
                <a:lnTo>
                  <a:pt x="303314" y="212794"/>
                </a:lnTo>
                <a:lnTo>
                  <a:pt x="535794" y="69242"/>
                </a:lnTo>
                <a:lnTo>
                  <a:pt x="698144" y="223973"/>
                </a:lnTo>
                <a:lnTo>
                  <a:pt x="696512" y="224981"/>
                </a:lnTo>
                <a:cubicBezTo>
                  <a:pt x="760334" y="205136"/>
                  <a:pt x="827716" y="195964"/>
                  <a:pt x="896341" y="196709"/>
                </a:cubicBezTo>
                <a:lnTo>
                  <a:pt x="889414" y="19487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6" name="자유형: 도형 23">
            <a:extLst>
              <a:ext uri="{FF2B5EF4-FFF2-40B4-BE49-F238E27FC236}">
                <a16:creationId xmlns:a16="http://schemas.microsoft.com/office/drawing/2014/main" id="{F7B5029F-95AE-40DA-AC75-872376ADB56E}"/>
              </a:ext>
            </a:extLst>
          </p:cNvPr>
          <p:cNvSpPr/>
          <p:nvPr/>
        </p:nvSpPr>
        <p:spPr>
          <a:xfrm>
            <a:off x="4407324" y="1982544"/>
            <a:ext cx="1254243" cy="1257203"/>
          </a:xfrm>
          <a:custGeom>
            <a:avLst/>
            <a:gdLst>
              <a:gd name="connsiteX0" fmla="*/ 1702614 w 1792010"/>
              <a:gd name="connsiteY0" fmla="*/ 878442 h 1796239"/>
              <a:gd name="connsiteX1" fmla="*/ 1710060 w 1792010"/>
              <a:gd name="connsiteY1" fmla="*/ 883022 h 1796239"/>
              <a:gd name="connsiteX2" fmla="*/ 1702614 w 1792010"/>
              <a:gd name="connsiteY2" fmla="*/ 881183 h 1796239"/>
              <a:gd name="connsiteX3" fmla="*/ 896004 w 1792010"/>
              <a:gd name="connsiteY3" fmla="*/ 384279 h 1796239"/>
              <a:gd name="connsiteX4" fmla="*/ 379479 w 1792010"/>
              <a:gd name="connsiteY4" fmla="*/ 900804 h 1796239"/>
              <a:gd name="connsiteX5" fmla="*/ 896004 w 1792010"/>
              <a:gd name="connsiteY5" fmla="*/ 1417329 h 1796239"/>
              <a:gd name="connsiteX6" fmla="*/ 1412529 w 1792010"/>
              <a:gd name="connsiteY6" fmla="*/ 900804 h 1796239"/>
              <a:gd name="connsiteX7" fmla="*/ 896004 w 1792010"/>
              <a:gd name="connsiteY7" fmla="*/ 384279 h 1796239"/>
              <a:gd name="connsiteX8" fmla="*/ 998892 w 1792010"/>
              <a:gd name="connsiteY8" fmla="*/ 0 h 1796239"/>
              <a:gd name="connsiteX9" fmla="*/ 1263685 w 1792010"/>
              <a:gd name="connsiteY9" fmla="*/ 70112 h 1796239"/>
              <a:gd name="connsiteX10" fmla="*/ 1259890 w 1792010"/>
              <a:gd name="connsiteY10" fmla="*/ 292970 h 1796239"/>
              <a:gd name="connsiteX11" fmla="*/ 1252964 w 1792010"/>
              <a:gd name="connsiteY11" fmla="*/ 291136 h 1796239"/>
              <a:gd name="connsiteX12" fmla="*/ 1403555 w 1792010"/>
              <a:gd name="connsiteY12" fmla="*/ 406648 h 1796239"/>
              <a:gd name="connsiteX13" fmla="*/ 1604328 w 1792010"/>
              <a:gd name="connsiteY13" fmla="*/ 357315 h 1796239"/>
              <a:gd name="connsiteX14" fmla="*/ 1733027 w 1792010"/>
              <a:gd name="connsiteY14" fmla="*/ 596499 h 1796239"/>
              <a:gd name="connsiteX15" fmla="*/ 1589970 w 1792010"/>
              <a:gd name="connsiteY15" fmla="*/ 723947 h 1796239"/>
              <a:gd name="connsiteX16" fmla="*/ 1613321 w 1792010"/>
              <a:gd name="connsiteY16" fmla="*/ 924788 h 1796239"/>
              <a:gd name="connsiteX17" fmla="*/ 1792010 w 1792010"/>
              <a:gd name="connsiteY17" fmla="*/ 1022811 h 1796239"/>
              <a:gd name="connsiteX18" fmla="*/ 1721058 w 1792010"/>
              <a:gd name="connsiteY18" fmla="*/ 1284473 h 1796239"/>
              <a:gd name="connsiteX19" fmla="*/ 1504230 w 1792010"/>
              <a:gd name="connsiteY19" fmla="*/ 1280870 h 1796239"/>
              <a:gd name="connsiteX20" fmla="*/ 1406384 w 1792010"/>
              <a:gd name="connsiteY20" fmla="*/ 1403402 h 1796239"/>
              <a:gd name="connsiteX21" fmla="*/ 1477592 w 1792010"/>
              <a:gd name="connsiteY21" fmla="*/ 1587057 h 1796239"/>
              <a:gd name="connsiteX22" fmla="*/ 1253035 w 1792010"/>
              <a:gd name="connsiteY22" fmla="*/ 1742435 h 1796239"/>
              <a:gd name="connsiteX23" fmla="*/ 1163834 w 1792010"/>
              <a:gd name="connsiteY23" fmla="*/ 1665910 h 1796239"/>
              <a:gd name="connsiteX24" fmla="*/ 1163667 w 1792010"/>
              <a:gd name="connsiteY24" fmla="*/ 1666097 h 1796239"/>
              <a:gd name="connsiteX25" fmla="*/ 1144343 w 1792010"/>
              <a:gd name="connsiteY25" fmla="*/ 1649188 h 1796239"/>
              <a:gd name="connsiteX26" fmla="*/ 1082710 w 1792010"/>
              <a:gd name="connsiteY26" fmla="*/ 1596313 h 1796239"/>
              <a:gd name="connsiteX27" fmla="*/ 1083384 w 1792010"/>
              <a:gd name="connsiteY27" fmla="*/ 1595846 h 1796239"/>
              <a:gd name="connsiteX28" fmla="*/ 1076108 w 1792010"/>
              <a:gd name="connsiteY28" fmla="*/ 1589478 h 1796239"/>
              <a:gd name="connsiteX29" fmla="*/ 898869 w 1792010"/>
              <a:gd name="connsiteY29" fmla="*/ 1612479 h 1796239"/>
              <a:gd name="connsiteX30" fmla="*/ 795635 w 1792010"/>
              <a:gd name="connsiteY30" fmla="*/ 1796239 h 1796239"/>
              <a:gd name="connsiteX31" fmla="*/ 530840 w 1792010"/>
              <a:gd name="connsiteY31" fmla="*/ 1726127 h 1796239"/>
              <a:gd name="connsiteX32" fmla="*/ 534419 w 1792010"/>
              <a:gd name="connsiteY32" fmla="*/ 1515981 h 1796239"/>
              <a:gd name="connsiteX33" fmla="*/ 384791 w 1792010"/>
              <a:gd name="connsiteY33" fmla="*/ 1400008 h 1796239"/>
              <a:gd name="connsiteX34" fmla="*/ 388223 w 1792010"/>
              <a:gd name="connsiteY34" fmla="*/ 1407281 h 1796239"/>
              <a:gd name="connsiteX35" fmla="*/ 166784 w 1792010"/>
              <a:gd name="connsiteY35" fmla="*/ 1449671 h 1796239"/>
              <a:gd name="connsiteX36" fmla="*/ 50929 w 1792010"/>
              <a:gd name="connsiteY36" fmla="*/ 1204159 h 1796239"/>
              <a:gd name="connsiteX37" fmla="*/ 200689 w 1792010"/>
              <a:gd name="connsiteY37" fmla="*/ 1084166 h 1796239"/>
              <a:gd name="connsiteX38" fmla="*/ 176341 w 1792010"/>
              <a:gd name="connsiteY38" fmla="*/ 904529 h 1796239"/>
              <a:gd name="connsiteX39" fmla="*/ 0 w 1792010"/>
              <a:gd name="connsiteY39" fmla="*/ 807794 h 1796239"/>
              <a:gd name="connsiteX40" fmla="*/ 70951 w 1792010"/>
              <a:gd name="connsiteY40" fmla="*/ 546132 h 1796239"/>
              <a:gd name="connsiteX41" fmla="*/ 273028 w 1792010"/>
              <a:gd name="connsiteY41" fmla="*/ 549491 h 1796239"/>
              <a:gd name="connsiteX42" fmla="*/ 370996 w 1792010"/>
              <a:gd name="connsiteY42" fmla="*/ 419078 h 1796239"/>
              <a:gd name="connsiteX43" fmla="*/ 303314 w 1792010"/>
              <a:gd name="connsiteY43" fmla="*/ 212794 h 1796239"/>
              <a:gd name="connsiteX44" fmla="*/ 535794 w 1792010"/>
              <a:gd name="connsiteY44" fmla="*/ 69242 h 1796239"/>
              <a:gd name="connsiteX45" fmla="*/ 698144 w 1792010"/>
              <a:gd name="connsiteY45" fmla="*/ 223973 h 1796239"/>
              <a:gd name="connsiteX46" fmla="*/ 696512 w 1792010"/>
              <a:gd name="connsiteY46" fmla="*/ 224981 h 1796239"/>
              <a:gd name="connsiteX47" fmla="*/ 896341 w 1792010"/>
              <a:gd name="connsiteY47" fmla="*/ 196709 h 1796239"/>
              <a:gd name="connsiteX48" fmla="*/ 889414 w 1792010"/>
              <a:gd name="connsiteY48" fmla="*/ 194876 h 1796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92010" h="1796239">
                <a:moveTo>
                  <a:pt x="1702614" y="878442"/>
                </a:moveTo>
                <a:lnTo>
                  <a:pt x="1710060" y="883022"/>
                </a:lnTo>
                <a:lnTo>
                  <a:pt x="1702614" y="881183"/>
                </a:lnTo>
                <a:close/>
                <a:moveTo>
                  <a:pt x="896004" y="384279"/>
                </a:moveTo>
                <a:cubicBezTo>
                  <a:pt x="610735" y="384279"/>
                  <a:pt x="379479" y="615535"/>
                  <a:pt x="379479" y="900804"/>
                </a:cubicBezTo>
                <a:cubicBezTo>
                  <a:pt x="379479" y="1186073"/>
                  <a:pt x="610735" y="1417329"/>
                  <a:pt x="896004" y="1417329"/>
                </a:cubicBezTo>
                <a:cubicBezTo>
                  <a:pt x="1181273" y="1417329"/>
                  <a:pt x="1412529" y="1186073"/>
                  <a:pt x="1412529" y="900804"/>
                </a:cubicBezTo>
                <a:cubicBezTo>
                  <a:pt x="1412529" y="615535"/>
                  <a:pt x="1181273" y="384279"/>
                  <a:pt x="896004" y="384279"/>
                </a:cubicBezTo>
                <a:close/>
                <a:moveTo>
                  <a:pt x="998892" y="0"/>
                </a:moveTo>
                <a:lnTo>
                  <a:pt x="1263685" y="70112"/>
                </a:lnTo>
                <a:lnTo>
                  <a:pt x="1259890" y="292970"/>
                </a:lnTo>
                <a:lnTo>
                  <a:pt x="1252964" y="291136"/>
                </a:lnTo>
                <a:cubicBezTo>
                  <a:pt x="1309401" y="322522"/>
                  <a:pt x="1360410" y="361009"/>
                  <a:pt x="1403555" y="406648"/>
                </a:cubicBezTo>
                <a:lnTo>
                  <a:pt x="1604328" y="357315"/>
                </a:lnTo>
                <a:lnTo>
                  <a:pt x="1733027" y="596499"/>
                </a:lnTo>
                <a:lnTo>
                  <a:pt x="1589970" y="723947"/>
                </a:lnTo>
                <a:cubicBezTo>
                  <a:pt x="1607903" y="788494"/>
                  <a:pt x="1616355" y="856084"/>
                  <a:pt x="1613321" y="924788"/>
                </a:cubicBezTo>
                <a:lnTo>
                  <a:pt x="1792010" y="1022811"/>
                </a:lnTo>
                <a:lnTo>
                  <a:pt x="1721058" y="1284473"/>
                </a:lnTo>
                <a:lnTo>
                  <a:pt x="1504230" y="1280870"/>
                </a:lnTo>
                <a:cubicBezTo>
                  <a:pt x="1476815" y="1326134"/>
                  <a:pt x="1443601" y="1366958"/>
                  <a:pt x="1406384" y="1403402"/>
                </a:cubicBezTo>
                <a:lnTo>
                  <a:pt x="1477592" y="1587057"/>
                </a:lnTo>
                <a:lnTo>
                  <a:pt x="1253035" y="1742435"/>
                </a:lnTo>
                <a:lnTo>
                  <a:pt x="1163834" y="1665910"/>
                </a:lnTo>
                <a:lnTo>
                  <a:pt x="1163667" y="1666097"/>
                </a:lnTo>
                <a:lnTo>
                  <a:pt x="1144343" y="1649188"/>
                </a:lnTo>
                <a:lnTo>
                  <a:pt x="1082710" y="1596313"/>
                </a:lnTo>
                <a:lnTo>
                  <a:pt x="1083384" y="1595846"/>
                </a:lnTo>
                <a:lnTo>
                  <a:pt x="1076108" y="1589478"/>
                </a:lnTo>
                <a:cubicBezTo>
                  <a:pt x="1019150" y="1605403"/>
                  <a:pt x="959511" y="1612813"/>
                  <a:pt x="898869" y="1612479"/>
                </a:cubicBezTo>
                <a:lnTo>
                  <a:pt x="795635" y="1796239"/>
                </a:lnTo>
                <a:lnTo>
                  <a:pt x="530840" y="1726127"/>
                </a:lnTo>
                <a:lnTo>
                  <a:pt x="534419" y="1515981"/>
                </a:lnTo>
                <a:cubicBezTo>
                  <a:pt x="478307" y="1484379"/>
                  <a:pt x="427627" y="1445732"/>
                  <a:pt x="384791" y="1400008"/>
                </a:cubicBezTo>
                <a:lnTo>
                  <a:pt x="388223" y="1407281"/>
                </a:lnTo>
                <a:lnTo>
                  <a:pt x="166784" y="1449671"/>
                </a:lnTo>
                <a:lnTo>
                  <a:pt x="50929" y="1204159"/>
                </a:lnTo>
                <a:lnTo>
                  <a:pt x="200689" y="1084166"/>
                </a:lnTo>
                <a:cubicBezTo>
                  <a:pt x="184704" y="1026270"/>
                  <a:pt x="176353" y="965934"/>
                  <a:pt x="176341" y="904529"/>
                </a:cubicBezTo>
                <a:lnTo>
                  <a:pt x="0" y="807794"/>
                </a:lnTo>
                <a:lnTo>
                  <a:pt x="70951" y="546132"/>
                </a:lnTo>
                <a:lnTo>
                  <a:pt x="273028" y="549491"/>
                </a:lnTo>
                <a:cubicBezTo>
                  <a:pt x="300443" y="501683"/>
                  <a:pt x="333547" y="458094"/>
                  <a:pt x="370996" y="419078"/>
                </a:cubicBezTo>
                <a:lnTo>
                  <a:pt x="303314" y="212794"/>
                </a:lnTo>
                <a:lnTo>
                  <a:pt x="535794" y="69242"/>
                </a:lnTo>
                <a:lnTo>
                  <a:pt x="698144" y="223973"/>
                </a:lnTo>
                <a:lnTo>
                  <a:pt x="696512" y="224981"/>
                </a:lnTo>
                <a:cubicBezTo>
                  <a:pt x="760334" y="205136"/>
                  <a:pt x="827716" y="195964"/>
                  <a:pt x="896341" y="196709"/>
                </a:cubicBezTo>
                <a:lnTo>
                  <a:pt x="889414" y="1948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7" name="자유형: 도형 24">
            <a:extLst>
              <a:ext uri="{FF2B5EF4-FFF2-40B4-BE49-F238E27FC236}">
                <a16:creationId xmlns:a16="http://schemas.microsoft.com/office/drawing/2014/main" id="{61E80737-BFA0-4B58-9818-48819BF1C7B4}"/>
              </a:ext>
            </a:extLst>
          </p:cNvPr>
          <p:cNvSpPr/>
          <p:nvPr/>
        </p:nvSpPr>
        <p:spPr>
          <a:xfrm>
            <a:off x="4354679" y="3994179"/>
            <a:ext cx="1254243" cy="1257203"/>
          </a:xfrm>
          <a:custGeom>
            <a:avLst/>
            <a:gdLst>
              <a:gd name="connsiteX0" fmla="*/ 1702614 w 1792010"/>
              <a:gd name="connsiteY0" fmla="*/ 878442 h 1796239"/>
              <a:gd name="connsiteX1" fmla="*/ 1710060 w 1792010"/>
              <a:gd name="connsiteY1" fmla="*/ 883022 h 1796239"/>
              <a:gd name="connsiteX2" fmla="*/ 1702614 w 1792010"/>
              <a:gd name="connsiteY2" fmla="*/ 881183 h 1796239"/>
              <a:gd name="connsiteX3" fmla="*/ 896004 w 1792010"/>
              <a:gd name="connsiteY3" fmla="*/ 384279 h 1796239"/>
              <a:gd name="connsiteX4" fmla="*/ 379479 w 1792010"/>
              <a:gd name="connsiteY4" fmla="*/ 900804 h 1796239"/>
              <a:gd name="connsiteX5" fmla="*/ 896004 w 1792010"/>
              <a:gd name="connsiteY5" fmla="*/ 1417329 h 1796239"/>
              <a:gd name="connsiteX6" fmla="*/ 1412529 w 1792010"/>
              <a:gd name="connsiteY6" fmla="*/ 900804 h 1796239"/>
              <a:gd name="connsiteX7" fmla="*/ 896004 w 1792010"/>
              <a:gd name="connsiteY7" fmla="*/ 384279 h 1796239"/>
              <a:gd name="connsiteX8" fmla="*/ 998892 w 1792010"/>
              <a:gd name="connsiteY8" fmla="*/ 0 h 1796239"/>
              <a:gd name="connsiteX9" fmla="*/ 1263685 w 1792010"/>
              <a:gd name="connsiteY9" fmla="*/ 70112 h 1796239"/>
              <a:gd name="connsiteX10" fmla="*/ 1259890 w 1792010"/>
              <a:gd name="connsiteY10" fmla="*/ 292970 h 1796239"/>
              <a:gd name="connsiteX11" fmla="*/ 1252964 w 1792010"/>
              <a:gd name="connsiteY11" fmla="*/ 291136 h 1796239"/>
              <a:gd name="connsiteX12" fmla="*/ 1403555 w 1792010"/>
              <a:gd name="connsiteY12" fmla="*/ 406648 h 1796239"/>
              <a:gd name="connsiteX13" fmla="*/ 1604328 w 1792010"/>
              <a:gd name="connsiteY13" fmla="*/ 357315 h 1796239"/>
              <a:gd name="connsiteX14" fmla="*/ 1733027 w 1792010"/>
              <a:gd name="connsiteY14" fmla="*/ 596499 h 1796239"/>
              <a:gd name="connsiteX15" fmla="*/ 1589970 w 1792010"/>
              <a:gd name="connsiteY15" fmla="*/ 723947 h 1796239"/>
              <a:gd name="connsiteX16" fmla="*/ 1613321 w 1792010"/>
              <a:gd name="connsiteY16" fmla="*/ 924788 h 1796239"/>
              <a:gd name="connsiteX17" fmla="*/ 1792010 w 1792010"/>
              <a:gd name="connsiteY17" fmla="*/ 1022811 h 1796239"/>
              <a:gd name="connsiteX18" fmla="*/ 1721058 w 1792010"/>
              <a:gd name="connsiteY18" fmla="*/ 1284473 h 1796239"/>
              <a:gd name="connsiteX19" fmla="*/ 1504230 w 1792010"/>
              <a:gd name="connsiteY19" fmla="*/ 1280870 h 1796239"/>
              <a:gd name="connsiteX20" fmla="*/ 1406384 w 1792010"/>
              <a:gd name="connsiteY20" fmla="*/ 1403402 h 1796239"/>
              <a:gd name="connsiteX21" fmla="*/ 1477592 w 1792010"/>
              <a:gd name="connsiteY21" fmla="*/ 1587057 h 1796239"/>
              <a:gd name="connsiteX22" fmla="*/ 1253035 w 1792010"/>
              <a:gd name="connsiteY22" fmla="*/ 1742435 h 1796239"/>
              <a:gd name="connsiteX23" fmla="*/ 1163834 w 1792010"/>
              <a:gd name="connsiteY23" fmla="*/ 1665910 h 1796239"/>
              <a:gd name="connsiteX24" fmla="*/ 1163667 w 1792010"/>
              <a:gd name="connsiteY24" fmla="*/ 1666097 h 1796239"/>
              <a:gd name="connsiteX25" fmla="*/ 1144343 w 1792010"/>
              <a:gd name="connsiteY25" fmla="*/ 1649188 h 1796239"/>
              <a:gd name="connsiteX26" fmla="*/ 1082710 w 1792010"/>
              <a:gd name="connsiteY26" fmla="*/ 1596313 h 1796239"/>
              <a:gd name="connsiteX27" fmla="*/ 1083384 w 1792010"/>
              <a:gd name="connsiteY27" fmla="*/ 1595846 h 1796239"/>
              <a:gd name="connsiteX28" fmla="*/ 1076108 w 1792010"/>
              <a:gd name="connsiteY28" fmla="*/ 1589478 h 1796239"/>
              <a:gd name="connsiteX29" fmla="*/ 898869 w 1792010"/>
              <a:gd name="connsiteY29" fmla="*/ 1612479 h 1796239"/>
              <a:gd name="connsiteX30" fmla="*/ 795635 w 1792010"/>
              <a:gd name="connsiteY30" fmla="*/ 1796239 h 1796239"/>
              <a:gd name="connsiteX31" fmla="*/ 530840 w 1792010"/>
              <a:gd name="connsiteY31" fmla="*/ 1726127 h 1796239"/>
              <a:gd name="connsiteX32" fmla="*/ 534419 w 1792010"/>
              <a:gd name="connsiteY32" fmla="*/ 1515981 h 1796239"/>
              <a:gd name="connsiteX33" fmla="*/ 384791 w 1792010"/>
              <a:gd name="connsiteY33" fmla="*/ 1400008 h 1796239"/>
              <a:gd name="connsiteX34" fmla="*/ 388223 w 1792010"/>
              <a:gd name="connsiteY34" fmla="*/ 1407281 h 1796239"/>
              <a:gd name="connsiteX35" fmla="*/ 166784 w 1792010"/>
              <a:gd name="connsiteY35" fmla="*/ 1449671 h 1796239"/>
              <a:gd name="connsiteX36" fmla="*/ 50929 w 1792010"/>
              <a:gd name="connsiteY36" fmla="*/ 1204159 h 1796239"/>
              <a:gd name="connsiteX37" fmla="*/ 200689 w 1792010"/>
              <a:gd name="connsiteY37" fmla="*/ 1084166 h 1796239"/>
              <a:gd name="connsiteX38" fmla="*/ 176341 w 1792010"/>
              <a:gd name="connsiteY38" fmla="*/ 904529 h 1796239"/>
              <a:gd name="connsiteX39" fmla="*/ 0 w 1792010"/>
              <a:gd name="connsiteY39" fmla="*/ 807794 h 1796239"/>
              <a:gd name="connsiteX40" fmla="*/ 70951 w 1792010"/>
              <a:gd name="connsiteY40" fmla="*/ 546132 h 1796239"/>
              <a:gd name="connsiteX41" fmla="*/ 273028 w 1792010"/>
              <a:gd name="connsiteY41" fmla="*/ 549491 h 1796239"/>
              <a:gd name="connsiteX42" fmla="*/ 370996 w 1792010"/>
              <a:gd name="connsiteY42" fmla="*/ 419078 h 1796239"/>
              <a:gd name="connsiteX43" fmla="*/ 303314 w 1792010"/>
              <a:gd name="connsiteY43" fmla="*/ 212794 h 1796239"/>
              <a:gd name="connsiteX44" fmla="*/ 535794 w 1792010"/>
              <a:gd name="connsiteY44" fmla="*/ 69242 h 1796239"/>
              <a:gd name="connsiteX45" fmla="*/ 698144 w 1792010"/>
              <a:gd name="connsiteY45" fmla="*/ 223973 h 1796239"/>
              <a:gd name="connsiteX46" fmla="*/ 696512 w 1792010"/>
              <a:gd name="connsiteY46" fmla="*/ 224981 h 1796239"/>
              <a:gd name="connsiteX47" fmla="*/ 896341 w 1792010"/>
              <a:gd name="connsiteY47" fmla="*/ 196709 h 1796239"/>
              <a:gd name="connsiteX48" fmla="*/ 889414 w 1792010"/>
              <a:gd name="connsiteY48" fmla="*/ 194876 h 1796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92010" h="1796239">
                <a:moveTo>
                  <a:pt x="1702614" y="878442"/>
                </a:moveTo>
                <a:lnTo>
                  <a:pt x="1710060" y="883022"/>
                </a:lnTo>
                <a:lnTo>
                  <a:pt x="1702614" y="881183"/>
                </a:lnTo>
                <a:close/>
                <a:moveTo>
                  <a:pt x="896004" y="384279"/>
                </a:moveTo>
                <a:cubicBezTo>
                  <a:pt x="610735" y="384279"/>
                  <a:pt x="379479" y="615535"/>
                  <a:pt x="379479" y="900804"/>
                </a:cubicBezTo>
                <a:cubicBezTo>
                  <a:pt x="379479" y="1186073"/>
                  <a:pt x="610735" y="1417329"/>
                  <a:pt x="896004" y="1417329"/>
                </a:cubicBezTo>
                <a:cubicBezTo>
                  <a:pt x="1181273" y="1417329"/>
                  <a:pt x="1412529" y="1186073"/>
                  <a:pt x="1412529" y="900804"/>
                </a:cubicBezTo>
                <a:cubicBezTo>
                  <a:pt x="1412529" y="615535"/>
                  <a:pt x="1181273" y="384279"/>
                  <a:pt x="896004" y="384279"/>
                </a:cubicBezTo>
                <a:close/>
                <a:moveTo>
                  <a:pt x="998892" y="0"/>
                </a:moveTo>
                <a:lnTo>
                  <a:pt x="1263685" y="70112"/>
                </a:lnTo>
                <a:lnTo>
                  <a:pt x="1259890" y="292970"/>
                </a:lnTo>
                <a:lnTo>
                  <a:pt x="1252964" y="291136"/>
                </a:lnTo>
                <a:cubicBezTo>
                  <a:pt x="1309401" y="322522"/>
                  <a:pt x="1360410" y="361009"/>
                  <a:pt x="1403555" y="406648"/>
                </a:cubicBezTo>
                <a:lnTo>
                  <a:pt x="1604328" y="357315"/>
                </a:lnTo>
                <a:lnTo>
                  <a:pt x="1733027" y="596499"/>
                </a:lnTo>
                <a:lnTo>
                  <a:pt x="1589970" y="723947"/>
                </a:lnTo>
                <a:cubicBezTo>
                  <a:pt x="1607903" y="788494"/>
                  <a:pt x="1616355" y="856084"/>
                  <a:pt x="1613321" y="924788"/>
                </a:cubicBezTo>
                <a:lnTo>
                  <a:pt x="1792010" y="1022811"/>
                </a:lnTo>
                <a:lnTo>
                  <a:pt x="1721058" y="1284473"/>
                </a:lnTo>
                <a:lnTo>
                  <a:pt x="1504230" y="1280870"/>
                </a:lnTo>
                <a:cubicBezTo>
                  <a:pt x="1476815" y="1326134"/>
                  <a:pt x="1443601" y="1366958"/>
                  <a:pt x="1406384" y="1403402"/>
                </a:cubicBezTo>
                <a:lnTo>
                  <a:pt x="1477592" y="1587057"/>
                </a:lnTo>
                <a:lnTo>
                  <a:pt x="1253035" y="1742435"/>
                </a:lnTo>
                <a:lnTo>
                  <a:pt x="1163834" y="1665910"/>
                </a:lnTo>
                <a:lnTo>
                  <a:pt x="1163667" y="1666097"/>
                </a:lnTo>
                <a:lnTo>
                  <a:pt x="1144343" y="1649188"/>
                </a:lnTo>
                <a:lnTo>
                  <a:pt x="1082710" y="1596313"/>
                </a:lnTo>
                <a:lnTo>
                  <a:pt x="1083384" y="1595846"/>
                </a:lnTo>
                <a:lnTo>
                  <a:pt x="1076108" y="1589478"/>
                </a:lnTo>
                <a:cubicBezTo>
                  <a:pt x="1019150" y="1605403"/>
                  <a:pt x="959511" y="1612813"/>
                  <a:pt x="898869" y="1612479"/>
                </a:cubicBezTo>
                <a:lnTo>
                  <a:pt x="795635" y="1796239"/>
                </a:lnTo>
                <a:lnTo>
                  <a:pt x="530840" y="1726127"/>
                </a:lnTo>
                <a:lnTo>
                  <a:pt x="534419" y="1515981"/>
                </a:lnTo>
                <a:cubicBezTo>
                  <a:pt x="478307" y="1484379"/>
                  <a:pt x="427627" y="1445732"/>
                  <a:pt x="384791" y="1400008"/>
                </a:cubicBezTo>
                <a:lnTo>
                  <a:pt x="388223" y="1407281"/>
                </a:lnTo>
                <a:lnTo>
                  <a:pt x="166784" y="1449671"/>
                </a:lnTo>
                <a:lnTo>
                  <a:pt x="50929" y="1204159"/>
                </a:lnTo>
                <a:lnTo>
                  <a:pt x="200689" y="1084166"/>
                </a:lnTo>
                <a:cubicBezTo>
                  <a:pt x="184704" y="1026270"/>
                  <a:pt x="176353" y="965934"/>
                  <a:pt x="176341" y="904529"/>
                </a:cubicBezTo>
                <a:lnTo>
                  <a:pt x="0" y="807794"/>
                </a:lnTo>
                <a:lnTo>
                  <a:pt x="70951" y="546132"/>
                </a:lnTo>
                <a:lnTo>
                  <a:pt x="273028" y="549491"/>
                </a:lnTo>
                <a:cubicBezTo>
                  <a:pt x="300443" y="501683"/>
                  <a:pt x="333547" y="458094"/>
                  <a:pt x="370996" y="419078"/>
                </a:cubicBezTo>
                <a:lnTo>
                  <a:pt x="303314" y="212794"/>
                </a:lnTo>
                <a:lnTo>
                  <a:pt x="535794" y="69242"/>
                </a:lnTo>
                <a:lnTo>
                  <a:pt x="698144" y="223973"/>
                </a:lnTo>
                <a:lnTo>
                  <a:pt x="696512" y="224981"/>
                </a:lnTo>
                <a:cubicBezTo>
                  <a:pt x="760334" y="205136"/>
                  <a:pt x="827716" y="195964"/>
                  <a:pt x="896341" y="196709"/>
                </a:cubicBezTo>
                <a:lnTo>
                  <a:pt x="889414" y="19487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825EC9F1-E1B8-496F-AC2B-5494A074B3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86801" y="1510111"/>
            <a:ext cx="311150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B5B34C49-BA5A-4BB1-9750-99A17E9741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86801" y="1817435"/>
            <a:ext cx="31115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D20276E-E700-43DE-86AD-06DABBFAEA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86801" y="4739774"/>
            <a:ext cx="311150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640706D9-D594-4C3B-BE22-A27B536EF24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86801" y="5047098"/>
            <a:ext cx="31115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A9C28C7-21BE-431B-98C5-5D0EDB671B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700" y="1510111"/>
            <a:ext cx="311150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563C961B-8790-442E-8546-BC4FD19FCE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3700" y="1817435"/>
            <a:ext cx="31115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E7C4026B-0EDF-4E95-8474-202AFD8DAC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3700" y="4783037"/>
            <a:ext cx="311150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6C42A123-FE67-4DF2-939E-A6FBA9829C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3700" y="5090361"/>
            <a:ext cx="31115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24" name="Picture 23" descr="darkest-green-horz.png">
            <a:extLst>
              <a:ext uri="{FF2B5EF4-FFF2-40B4-BE49-F238E27FC236}">
                <a16:creationId xmlns:a16="http://schemas.microsoft.com/office/drawing/2014/main" id="{715BF84A-5E02-43EF-B293-AEBF19D291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068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6 Category Layo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18">
            <a:extLst>
              <a:ext uri="{FF2B5EF4-FFF2-40B4-BE49-F238E27FC236}">
                <a16:creationId xmlns:a16="http://schemas.microsoft.com/office/drawing/2014/main" id="{6277F45C-0B44-4ECE-B59D-8512C41F4548}"/>
              </a:ext>
            </a:extLst>
          </p:cNvPr>
          <p:cNvSpPr/>
          <p:nvPr userDrawn="1"/>
        </p:nvSpPr>
        <p:spPr>
          <a:xfrm flipH="1">
            <a:off x="5354511" y="2800238"/>
            <a:ext cx="1505332" cy="1505334"/>
          </a:xfrm>
          <a:prstGeom prst="ellipse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1" name="Oval 2">
            <a:extLst>
              <a:ext uri="{FF2B5EF4-FFF2-40B4-BE49-F238E27FC236}">
                <a16:creationId xmlns:a16="http://schemas.microsoft.com/office/drawing/2014/main" id="{9C7DCEE3-8623-4561-B202-AA097A5BAA41}"/>
              </a:ext>
            </a:extLst>
          </p:cNvPr>
          <p:cNvSpPr/>
          <p:nvPr userDrawn="1"/>
        </p:nvSpPr>
        <p:spPr>
          <a:xfrm>
            <a:off x="5234752" y="2680480"/>
            <a:ext cx="1744851" cy="1744851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2" name="Arc 20">
            <a:extLst>
              <a:ext uri="{FF2B5EF4-FFF2-40B4-BE49-F238E27FC236}">
                <a16:creationId xmlns:a16="http://schemas.microsoft.com/office/drawing/2014/main" id="{E4E3F41C-1D81-4694-B264-54E79BA1B160}"/>
              </a:ext>
            </a:extLst>
          </p:cNvPr>
          <p:cNvSpPr/>
          <p:nvPr userDrawn="1"/>
        </p:nvSpPr>
        <p:spPr>
          <a:xfrm rot="18900000">
            <a:off x="5075404" y="2521132"/>
            <a:ext cx="2063546" cy="2063545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3" name="Arc 21">
            <a:extLst>
              <a:ext uri="{FF2B5EF4-FFF2-40B4-BE49-F238E27FC236}">
                <a16:creationId xmlns:a16="http://schemas.microsoft.com/office/drawing/2014/main" id="{0FF5C95E-BEF7-437F-8530-88B584ED4591}"/>
              </a:ext>
            </a:extLst>
          </p:cNvPr>
          <p:cNvSpPr/>
          <p:nvPr userDrawn="1"/>
        </p:nvSpPr>
        <p:spPr>
          <a:xfrm rot="11700000">
            <a:off x="5075404" y="2521132"/>
            <a:ext cx="2063546" cy="2063545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5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4" name="Arc 22">
            <a:extLst>
              <a:ext uri="{FF2B5EF4-FFF2-40B4-BE49-F238E27FC236}">
                <a16:creationId xmlns:a16="http://schemas.microsoft.com/office/drawing/2014/main" id="{4C748EF5-BA0C-491F-8CDE-596AA7E0C6E0}"/>
              </a:ext>
            </a:extLst>
          </p:cNvPr>
          <p:cNvSpPr/>
          <p:nvPr userDrawn="1"/>
        </p:nvSpPr>
        <p:spPr>
          <a:xfrm rot="4500000">
            <a:off x="5075404" y="2521132"/>
            <a:ext cx="2063545" cy="2063546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5" name="Arc 23">
            <a:extLst>
              <a:ext uri="{FF2B5EF4-FFF2-40B4-BE49-F238E27FC236}">
                <a16:creationId xmlns:a16="http://schemas.microsoft.com/office/drawing/2014/main" id="{A784612D-A109-473F-94F5-34234DE008BB}"/>
              </a:ext>
            </a:extLst>
          </p:cNvPr>
          <p:cNvSpPr/>
          <p:nvPr userDrawn="1"/>
        </p:nvSpPr>
        <p:spPr>
          <a:xfrm rot="8100000">
            <a:off x="4910155" y="2355884"/>
            <a:ext cx="2394044" cy="2394044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6" name="Arc 24">
            <a:extLst>
              <a:ext uri="{FF2B5EF4-FFF2-40B4-BE49-F238E27FC236}">
                <a16:creationId xmlns:a16="http://schemas.microsoft.com/office/drawing/2014/main" id="{A2CCB3A7-F1A7-4A12-9A58-74AE339401E8}"/>
              </a:ext>
            </a:extLst>
          </p:cNvPr>
          <p:cNvSpPr/>
          <p:nvPr userDrawn="1"/>
        </p:nvSpPr>
        <p:spPr>
          <a:xfrm rot="900000">
            <a:off x="4910156" y="2355884"/>
            <a:ext cx="2394044" cy="2394044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7" name="Arc 25">
            <a:extLst>
              <a:ext uri="{FF2B5EF4-FFF2-40B4-BE49-F238E27FC236}">
                <a16:creationId xmlns:a16="http://schemas.microsoft.com/office/drawing/2014/main" id="{F3FE01D4-1D5C-46C7-BEC7-A6312B6A8F1E}"/>
              </a:ext>
            </a:extLst>
          </p:cNvPr>
          <p:cNvSpPr/>
          <p:nvPr userDrawn="1"/>
        </p:nvSpPr>
        <p:spPr>
          <a:xfrm rot="15300000">
            <a:off x="4910157" y="2355883"/>
            <a:ext cx="2394042" cy="2394044"/>
          </a:xfrm>
          <a:prstGeom prst="arc">
            <a:avLst>
              <a:gd name="adj1" fmla="val 16929681"/>
              <a:gd name="adj2" fmla="val 20832908"/>
            </a:avLst>
          </a:prstGeom>
          <a:ln w="12700">
            <a:solidFill>
              <a:schemeClr val="accent6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8" name="Straight Connector 55">
            <a:extLst>
              <a:ext uri="{FF2B5EF4-FFF2-40B4-BE49-F238E27FC236}">
                <a16:creationId xmlns:a16="http://schemas.microsoft.com/office/drawing/2014/main" id="{BB402F3C-FA9D-42E5-A614-BE3F8503CD1F}"/>
              </a:ext>
            </a:extLst>
          </p:cNvPr>
          <p:cNvCxnSpPr/>
          <p:nvPr userDrawn="1"/>
        </p:nvCxnSpPr>
        <p:spPr>
          <a:xfrm flipV="1">
            <a:off x="6107176" y="2200129"/>
            <a:ext cx="1" cy="315858"/>
          </a:xfrm>
          <a:prstGeom prst="line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56">
            <a:extLst>
              <a:ext uri="{FF2B5EF4-FFF2-40B4-BE49-F238E27FC236}">
                <a16:creationId xmlns:a16="http://schemas.microsoft.com/office/drawing/2014/main" id="{FEEEB168-C816-4EDB-BFD6-B763C342FE01}"/>
              </a:ext>
            </a:extLst>
          </p:cNvPr>
          <p:cNvSpPr/>
          <p:nvPr userDrawn="1"/>
        </p:nvSpPr>
        <p:spPr>
          <a:xfrm flipH="1">
            <a:off x="5744263" y="1331332"/>
            <a:ext cx="743719" cy="743720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0" name="Arc 66">
            <a:extLst>
              <a:ext uri="{FF2B5EF4-FFF2-40B4-BE49-F238E27FC236}">
                <a16:creationId xmlns:a16="http://schemas.microsoft.com/office/drawing/2014/main" id="{30759927-42CE-4DE5-98D6-E6011BD1D0B1}"/>
              </a:ext>
            </a:extLst>
          </p:cNvPr>
          <p:cNvSpPr/>
          <p:nvPr userDrawn="1"/>
        </p:nvSpPr>
        <p:spPr>
          <a:xfrm rot="8222881">
            <a:off x="5613658" y="1209675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91" name="Straight Connector 40">
            <a:extLst>
              <a:ext uri="{FF2B5EF4-FFF2-40B4-BE49-F238E27FC236}">
                <a16:creationId xmlns:a16="http://schemas.microsoft.com/office/drawing/2014/main" id="{CA849A47-719B-4548-9050-E74B32F8149E}"/>
              </a:ext>
            </a:extLst>
          </p:cNvPr>
          <p:cNvCxnSpPr/>
          <p:nvPr userDrawn="1"/>
        </p:nvCxnSpPr>
        <p:spPr>
          <a:xfrm flipV="1">
            <a:off x="7159687" y="2837364"/>
            <a:ext cx="355593" cy="132352"/>
          </a:xfrm>
          <a:prstGeom prst="line">
            <a:avLst/>
          </a:prstGeom>
          <a:ln w="12700">
            <a:solidFill>
              <a:schemeClr val="accent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val 68">
            <a:extLst>
              <a:ext uri="{FF2B5EF4-FFF2-40B4-BE49-F238E27FC236}">
                <a16:creationId xmlns:a16="http://schemas.microsoft.com/office/drawing/2014/main" id="{F43C3AFD-89F4-44AC-8051-ECE5B77621F5}"/>
              </a:ext>
            </a:extLst>
          </p:cNvPr>
          <p:cNvSpPr/>
          <p:nvPr userDrawn="1"/>
        </p:nvSpPr>
        <p:spPr>
          <a:xfrm rot="3872604" flipH="1">
            <a:off x="7605481" y="2274214"/>
            <a:ext cx="743719" cy="743720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3" name="Arc 69">
            <a:extLst>
              <a:ext uri="{FF2B5EF4-FFF2-40B4-BE49-F238E27FC236}">
                <a16:creationId xmlns:a16="http://schemas.microsoft.com/office/drawing/2014/main" id="{1D8DB743-93A0-4915-9A2E-B73DACFE5EF0}"/>
              </a:ext>
            </a:extLst>
          </p:cNvPr>
          <p:cNvSpPr/>
          <p:nvPr userDrawn="1"/>
        </p:nvSpPr>
        <p:spPr>
          <a:xfrm rot="12095485">
            <a:off x="7483824" y="2152557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94" name="Straight Connector 38">
            <a:extLst>
              <a:ext uri="{FF2B5EF4-FFF2-40B4-BE49-F238E27FC236}">
                <a16:creationId xmlns:a16="http://schemas.microsoft.com/office/drawing/2014/main" id="{7E76655C-52AE-4310-9549-2B3F5618F1F2}"/>
              </a:ext>
            </a:extLst>
          </p:cNvPr>
          <p:cNvCxnSpPr/>
          <p:nvPr userDrawn="1"/>
        </p:nvCxnSpPr>
        <p:spPr>
          <a:xfrm>
            <a:off x="6968134" y="4120634"/>
            <a:ext cx="598191" cy="304696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val 71">
            <a:extLst>
              <a:ext uri="{FF2B5EF4-FFF2-40B4-BE49-F238E27FC236}">
                <a16:creationId xmlns:a16="http://schemas.microsoft.com/office/drawing/2014/main" id="{35DD241C-791D-4E90-8CA8-0D88AE725917}"/>
              </a:ext>
            </a:extLst>
          </p:cNvPr>
          <p:cNvSpPr/>
          <p:nvPr userDrawn="1"/>
        </p:nvSpPr>
        <p:spPr>
          <a:xfrm rot="7112332" flipH="1">
            <a:off x="7628617" y="4288321"/>
            <a:ext cx="743719" cy="743720"/>
          </a:xfrm>
          <a:prstGeom prst="ellipse">
            <a:avLst/>
          </a:prstGeom>
          <a:solidFill>
            <a:schemeClr val="accent3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6" name="Arc 72">
            <a:extLst>
              <a:ext uri="{FF2B5EF4-FFF2-40B4-BE49-F238E27FC236}">
                <a16:creationId xmlns:a16="http://schemas.microsoft.com/office/drawing/2014/main" id="{6F8C48C1-5872-44C4-8674-B5AABEE17B91}"/>
              </a:ext>
            </a:extLst>
          </p:cNvPr>
          <p:cNvSpPr/>
          <p:nvPr userDrawn="1"/>
        </p:nvSpPr>
        <p:spPr>
          <a:xfrm rot="15335213">
            <a:off x="7506959" y="4166664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97" name="Straight Connector 51">
            <a:extLst>
              <a:ext uri="{FF2B5EF4-FFF2-40B4-BE49-F238E27FC236}">
                <a16:creationId xmlns:a16="http://schemas.microsoft.com/office/drawing/2014/main" id="{5ECB57DC-EA11-448F-8FFF-4B5407BD159D}"/>
              </a:ext>
            </a:extLst>
          </p:cNvPr>
          <p:cNvCxnSpPr/>
          <p:nvPr userDrawn="1"/>
        </p:nvCxnSpPr>
        <p:spPr>
          <a:xfrm flipV="1">
            <a:off x="6107177" y="4737503"/>
            <a:ext cx="1" cy="315858"/>
          </a:xfrm>
          <a:prstGeom prst="line">
            <a:avLst/>
          </a:prstGeom>
          <a:ln w="12700">
            <a:solidFill>
              <a:schemeClr val="accent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Oval 74">
            <a:extLst>
              <a:ext uri="{FF2B5EF4-FFF2-40B4-BE49-F238E27FC236}">
                <a16:creationId xmlns:a16="http://schemas.microsoft.com/office/drawing/2014/main" id="{CB86E2C0-11E6-4341-8A40-0CF793533EE6}"/>
              </a:ext>
            </a:extLst>
          </p:cNvPr>
          <p:cNvSpPr/>
          <p:nvPr userDrawn="1"/>
        </p:nvSpPr>
        <p:spPr>
          <a:xfrm rot="10800000" flipH="1">
            <a:off x="5735316" y="5176228"/>
            <a:ext cx="743719" cy="743720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9" name="Arc 77">
            <a:extLst>
              <a:ext uri="{FF2B5EF4-FFF2-40B4-BE49-F238E27FC236}">
                <a16:creationId xmlns:a16="http://schemas.microsoft.com/office/drawing/2014/main" id="{0871A1C7-0596-4913-91B9-B713663D2A76}"/>
              </a:ext>
            </a:extLst>
          </p:cNvPr>
          <p:cNvSpPr/>
          <p:nvPr userDrawn="1"/>
        </p:nvSpPr>
        <p:spPr>
          <a:xfrm rot="19022881">
            <a:off x="5613658" y="5054571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0" name="Oval 79">
            <a:extLst>
              <a:ext uri="{FF2B5EF4-FFF2-40B4-BE49-F238E27FC236}">
                <a16:creationId xmlns:a16="http://schemas.microsoft.com/office/drawing/2014/main" id="{73F08EF1-BC1D-46FF-910B-05AD962439A7}"/>
              </a:ext>
            </a:extLst>
          </p:cNvPr>
          <p:cNvSpPr/>
          <p:nvPr userDrawn="1"/>
        </p:nvSpPr>
        <p:spPr>
          <a:xfrm rot="17727396">
            <a:off x="3944386" y="2216439"/>
            <a:ext cx="743719" cy="743720"/>
          </a:xfrm>
          <a:prstGeom prst="ellipse">
            <a:avLst/>
          </a:prstGeom>
          <a:solidFill>
            <a:schemeClr val="accent6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101" name="Straight Connector 27">
            <a:extLst>
              <a:ext uri="{FF2B5EF4-FFF2-40B4-BE49-F238E27FC236}">
                <a16:creationId xmlns:a16="http://schemas.microsoft.com/office/drawing/2014/main" id="{4FB96935-3149-4216-9432-B601350595A7}"/>
              </a:ext>
            </a:extLst>
          </p:cNvPr>
          <p:cNvCxnSpPr/>
          <p:nvPr userDrawn="1"/>
        </p:nvCxnSpPr>
        <p:spPr>
          <a:xfrm>
            <a:off x="4750586" y="2800239"/>
            <a:ext cx="303452" cy="158006"/>
          </a:xfrm>
          <a:prstGeom prst="line">
            <a:avLst/>
          </a:prstGeom>
          <a:ln w="12700">
            <a:solidFill>
              <a:schemeClr val="accent6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Arc 80">
            <a:extLst>
              <a:ext uri="{FF2B5EF4-FFF2-40B4-BE49-F238E27FC236}">
                <a16:creationId xmlns:a16="http://schemas.microsoft.com/office/drawing/2014/main" id="{BDFFE6A3-F778-4683-99A5-833A54DA08DF}"/>
              </a:ext>
            </a:extLst>
          </p:cNvPr>
          <p:cNvSpPr/>
          <p:nvPr userDrawn="1"/>
        </p:nvSpPr>
        <p:spPr>
          <a:xfrm rot="9504515" flipH="1">
            <a:off x="3822728" y="2094782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6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103" name="Straight Connector 45">
            <a:extLst>
              <a:ext uri="{FF2B5EF4-FFF2-40B4-BE49-F238E27FC236}">
                <a16:creationId xmlns:a16="http://schemas.microsoft.com/office/drawing/2014/main" id="{135C978E-E11B-41B7-A72A-9A25F3A56480}"/>
              </a:ext>
            </a:extLst>
          </p:cNvPr>
          <p:cNvCxnSpPr/>
          <p:nvPr userDrawn="1"/>
        </p:nvCxnSpPr>
        <p:spPr>
          <a:xfrm flipV="1">
            <a:off x="4625217" y="4106532"/>
            <a:ext cx="596831" cy="347888"/>
          </a:xfrm>
          <a:prstGeom prst="line">
            <a:avLst/>
          </a:prstGeom>
          <a:ln w="12700">
            <a:solidFill>
              <a:schemeClr val="accent5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82">
            <a:extLst>
              <a:ext uri="{FF2B5EF4-FFF2-40B4-BE49-F238E27FC236}">
                <a16:creationId xmlns:a16="http://schemas.microsoft.com/office/drawing/2014/main" id="{0A30DC03-A999-4788-83EA-9E2E7DB020B2}"/>
              </a:ext>
            </a:extLst>
          </p:cNvPr>
          <p:cNvSpPr/>
          <p:nvPr userDrawn="1"/>
        </p:nvSpPr>
        <p:spPr>
          <a:xfrm rot="14487668">
            <a:off x="3819664" y="4316961"/>
            <a:ext cx="743719" cy="743720"/>
          </a:xfrm>
          <a:prstGeom prst="ellipse">
            <a:avLst/>
          </a:prstGeom>
          <a:solidFill>
            <a:schemeClr val="accent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5" name="Arc 83">
            <a:extLst>
              <a:ext uri="{FF2B5EF4-FFF2-40B4-BE49-F238E27FC236}">
                <a16:creationId xmlns:a16="http://schemas.microsoft.com/office/drawing/2014/main" id="{64185ED0-C220-4D0F-9D53-97DD27F62793}"/>
              </a:ext>
            </a:extLst>
          </p:cNvPr>
          <p:cNvSpPr/>
          <p:nvPr userDrawn="1"/>
        </p:nvSpPr>
        <p:spPr>
          <a:xfrm rot="6264787" flipH="1">
            <a:off x="3698007" y="4195304"/>
            <a:ext cx="987034" cy="987034"/>
          </a:xfrm>
          <a:prstGeom prst="arc">
            <a:avLst>
              <a:gd name="adj1" fmla="val 15767060"/>
              <a:gd name="adj2" fmla="val 231555"/>
            </a:avLst>
          </a:prstGeom>
          <a:ln w="12700">
            <a:solidFill>
              <a:schemeClr val="accent5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4EC3F4DA-4D6D-48C6-B1BC-3A6E51EEA3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04668" y="1162496"/>
            <a:ext cx="3663465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14" name="Text Placeholder 17">
            <a:extLst>
              <a:ext uri="{FF2B5EF4-FFF2-40B4-BE49-F238E27FC236}">
                <a16:creationId xmlns:a16="http://schemas.microsoft.com/office/drawing/2014/main" id="{529ED8F4-647E-4EEC-9370-ACEC6C3488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04668" y="1439043"/>
            <a:ext cx="366346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F63FBA9C-60E7-46CB-975C-A28B8121C48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38604" y="2295647"/>
            <a:ext cx="3259696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3B0BC1A8-C1D8-4C37-9527-1A793C9ACB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38604" y="2572194"/>
            <a:ext cx="325969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17" name="Text Placeholder 17">
            <a:extLst>
              <a:ext uri="{FF2B5EF4-FFF2-40B4-BE49-F238E27FC236}">
                <a16:creationId xmlns:a16="http://schemas.microsoft.com/office/drawing/2014/main" id="{A76D4B0E-A1B0-40EA-BE02-90718F9F08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38604" y="4297049"/>
            <a:ext cx="3259696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18" name="Text Placeholder 17">
            <a:extLst>
              <a:ext uri="{FF2B5EF4-FFF2-40B4-BE49-F238E27FC236}">
                <a16:creationId xmlns:a16="http://schemas.microsoft.com/office/drawing/2014/main" id="{2A9A66C7-CBCC-4D09-9E9B-86F4558E14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38604" y="4573596"/>
            <a:ext cx="325969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19" name="Text Placeholder 17">
            <a:extLst>
              <a:ext uri="{FF2B5EF4-FFF2-40B4-BE49-F238E27FC236}">
                <a16:creationId xmlns:a16="http://schemas.microsoft.com/office/drawing/2014/main" id="{457C57BC-BBDA-4E97-94E1-F6D8C375351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12803" y="5411304"/>
            <a:ext cx="3259696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0" name="Text Placeholder 17">
            <a:extLst>
              <a:ext uri="{FF2B5EF4-FFF2-40B4-BE49-F238E27FC236}">
                <a16:creationId xmlns:a16="http://schemas.microsoft.com/office/drawing/2014/main" id="{0F5A2FDD-83BA-4786-B6CD-FFA109AA771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12803" y="5687851"/>
            <a:ext cx="325969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23" name="Text Placeholder 17">
            <a:extLst>
              <a:ext uri="{FF2B5EF4-FFF2-40B4-BE49-F238E27FC236}">
                <a16:creationId xmlns:a16="http://schemas.microsoft.com/office/drawing/2014/main" id="{C3F8AFC7-BC8D-420A-9BFE-94D5BAA1A5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3700" y="4297049"/>
            <a:ext cx="3259696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4" name="Text Placeholder 17">
            <a:extLst>
              <a:ext uri="{FF2B5EF4-FFF2-40B4-BE49-F238E27FC236}">
                <a16:creationId xmlns:a16="http://schemas.microsoft.com/office/drawing/2014/main" id="{BD95EB48-7496-4415-9BD0-FCF9A335B2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3700" y="4573596"/>
            <a:ext cx="325969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25" name="Text Placeholder 17">
            <a:extLst>
              <a:ext uri="{FF2B5EF4-FFF2-40B4-BE49-F238E27FC236}">
                <a16:creationId xmlns:a16="http://schemas.microsoft.com/office/drawing/2014/main" id="{6B66BE37-DD5E-48EE-87FF-FBDAC070A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9679" y="2295647"/>
            <a:ext cx="3259696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6" name="Text Placeholder 17">
            <a:extLst>
              <a:ext uri="{FF2B5EF4-FFF2-40B4-BE49-F238E27FC236}">
                <a16:creationId xmlns:a16="http://schemas.microsoft.com/office/drawing/2014/main" id="{5523F013-96AE-4A0D-BCDE-3775578927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9679" y="2572194"/>
            <a:ext cx="325969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45" name="Picture 44" descr="darkest-green-horz.png">
            <a:extLst>
              <a:ext uri="{FF2B5EF4-FFF2-40B4-BE49-F238E27FC236}">
                <a16:creationId xmlns:a16="http://schemas.microsoft.com/office/drawing/2014/main" id="{79CA727B-F67A-4D1C-A151-4D97BCCED9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31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5 Category Layout/Proce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C8B6E9E5-97D2-41D8-A7DC-859459C0B45A}"/>
              </a:ext>
            </a:extLst>
          </p:cNvPr>
          <p:cNvSpPr/>
          <p:nvPr userDrawn="1"/>
        </p:nvSpPr>
        <p:spPr>
          <a:xfrm>
            <a:off x="1248689" y="1619768"/>
            <a:ext cx="1126329" cy="1126329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208B192A-DFA9-44CF-B76D-31095E18AC2D}"/>
              </a:ext>
            </a:extLst>
          </p:cNvPr>
          <p:cNvSpPr/>
          <p:nvPr userDrawn="1"/>
        </p:nvSpPr>
        <p:spPr>
          <a:xfrm>
            <a:off x="1376484" y="1747563"/>
            <a:ext cx="870739" cy="87073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FEAB2700-157D-400E-9682-B8EAD7FEABFA}"/>
              </a:ext>
            </a:extLst>
          </p:cNvPr>
          <p:cNvSpPr/>
          <p:nvPr userDrawn="1"/>
        </p:nvSpPr>
        <p:spPr>
          <a:xfrm>
            <a:off x="1111146" y="1473200"/>
            <a:ext cx="1408634" cy="1408634"/>
          </a:xfrm>
          <a:prstGeom prst="arc">
            <a:avLst>
              <a:gd name="adj1" fmla="val 5422556"/>
              <a:gd name="adj2" fmla="val 13638"/>
            </a:avLst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4AB489B8-0AD9-4AFC-9C5E-E63C594C1168}"/>
              </a:ext>
            </a:extLst>
          </p:cNvPr>
          <p:cNvCxnSpPr>
            <a:cxnSpLocks/>
            <a:stCxn id="59" idx="0"/>
          </p:cNvCxnSpPr>
          <p:nvPr userDrawn="1"/>
        </p:nvCxnSpPr>
        <p:spPr>
          <a:xfrm>
            <a:off x="1810842" y="2881818"/>
            <a:ext cx="0" cy="730685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4682466-63D5-4935-BF88-ACC410002969}"/>
              </a:ext>
            </a:extLst>
          </p:cNvPr>
          <p:cNvCxnSpPr/>
          <p:nvPr userDrawn="1"/>
        </p:nvCxnSpPr>
        <p:spPr>
          <a:xfrm flipH="1">
            <a:off x="416938" y="2177516"/>
            <a:ext cx="694208" cy="0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8F168573-6C17-4248-8258-4896A94989F8}"/>
              </a:ext>
            </a:extLst>
          </p:cNvPr>
          <p:cNvSpPr/>
          <p:nvPr userDrawn="1"/>
        </p:nvSpPr>
        <p:spPr>
          <a:xfrm>
            <a:off x="3480553" y="1619768"/>
            <a:ext cx="1126329" cy="1126329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EE0CD34C-6DED-4E3F-8642-AE5475FF4821}"/>
              </a:ext>
            </a:extLst>
          </p:cNvPr>
          <p:cNvSpPr/>
          <p:nvPr userDrawn="1"/>
        </p:nvSpPr>
        <p:spPr>
          <a:xfrm>
            <a:off x="3608349" y="1747563"/>
            <a:ext cx="870739" cy="87073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4" name="Arc 63">
            <a:extLst>
              <a:ext uri="{FF2B5EF4-FFF2-40B4-BE49-F238E27FC236}">
                <a16:creationId xmlns:a16="http://schemas.microsoft.com/office/drawing/2014/main" id="{AE874B48-C91D-4E7D-B93E-DFEB9B0E323C}"/>
              </a:ext>
            </a:extLst>
          </p:cNvPr>
          <p:cNvSpPr/>
          <p:nvPr userDrawn="1"/>
        </p:nvSpPr>
        <p:spPr>
          <a:xfrm>
            <a:off x="3343011" y="1473200"/>
            <a:ext cx="1408634" cy="1408634"/>
          </a:xfrm>
          <a:prstGeom prst="arc">
            <a:avLst>
              <a:gd name="adj1" fmla="val 5422556"/>
              <a:gd name="adj2" fmla="val 13638"/>
            </a:avLst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D3798C9-6A86-46DA-9D1B-B23A06CE802A}"/>
              </a:ext>
            </a:extLst>
          </p:cNvPr>
          <p:cNvCxnSpPr/>
          <p:nvPr userDrawn="1"/>
        </p:nvCxnSpPr>
        <p:spPr>
          <a:xfrm flipH="1">
            <a:off x="2648803" y="2177516"/>
            <a:ext cx="694208" cy="0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E58A2D1B-B503-4A2A-A5B5-4107AE7D0176}"/>
              </a:ext>
            </a:extLst>
          </p:cNvPr>
          <p:cNvSpPr/>
          <p:nvPr userDrawn="1"/>
        </p:nvSpPr>
        <p:spPr>
          <a:xfrm>
            <a:off x="5733212" y="1619768"/>
            <a:ext cx="1126329" cy="1126329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0D384D7-B082-4F6B-88F8-78F72C07A4AB}"/>
              </a:ext>
            </a:extLst>
          </p:cNvPr>
          <p:cNvSpPr/>
          <p:nvPr userDrawn="1"/>
        </p:nvSpPr>
        <p:spPr>
          <a:xfrm>
            <a:off x="5861007" y="1747563"/>
            <a:ext cx="870739" cy="87073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8" name="Arc 67">
            <a:extLst>
              <a:ext uri="{FF2B5EF4-FFF2-40B4-BE49-F238E27FC236}">
                <a16:creationId xmlns:a16="http://schemas.microsoft.com/office/drawing/2014/main" id="{C0214D18-4AB0-4B8A-B28F-15C14DC1F12F}"/>
              </a:ext>
            </a:extLst>
          </p:cNvPr>
          <p:cNvSpPr/>
          <p:nvPr userDrawn="1"/>
        </p:nvSpPr>
        <p:spPr>
          <a:xfrm>
            <a:off x="5595669" y="1473200"/>
            <a:ext cx="1408634" cy="1408634"/>
          </a:xfrm>
          <a:prstGeom prst="arc">
            <a:avLst>
              <a:gd name="adj1" fmla="val 5422556"/>
              <a:gd name="adj2" fmla="val 13638"/>
            </a:avLst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FEC365-251E-4246-B245-4C9BEBFE102A}"/>
              </a:ext>
            </a:extLst>
          </p:cNvPr>
          <p:cNvCxnSpPr/>
          <p:nvPr userDrawn="1"/>
        </p:nvCxnSpPr>
        <p:spPr>
          <a:xfrm flipH="1">
            <a:off x="4901461" y="2177516"/>
            <a:ext cx="694208" cy="0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id="{1152152C-DB0E-438A-B65B-47D3104DE97C}"/>
              </a:ext>
            </a:extLst>
          </p:cNvPr>
          <p:cNvSpPr/>
          <p:nvPr userDrawn="1"/>
        </p:nvSpPr>
        <p:spPr>
          <a:xfrm>
            <a:off x="7985870" y="1619768"/>
            <a:ext cx="1126329" cy="1126329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BB3F036-EB18-48D4-8E06-C0FB0F8C7777}"/>
              </a:ext>
            </a:extLst>
          </p:cNvPr>
          <p:cNvSpPr/>
          <p:nvPr userDrawn="1"/>
        </p:nvSpPr>
        <p:spPr>
          <a:xfrm>
            <a:off x="8113665" y="1747563"/>
            <a:ext cx="870739" cy="87073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72" name="Arc 71">
            <a:extLst>
              <a:ext uri="{FF2B5EF4-FFF2-40B4-BE49-F238E27FC236}">
                <a16:creationId xmlns:a16="http://schemas.microsoft.com/office/drawing/2014/main" id="{9827B59F-2D80-4E37-B65F-6EA4F249C02D}"/>
              </a:ext>
            </a:extLst>
          </p:cNvPr>
          <p:cNvSpPr/>
          <p:nvPr userDrawn="1"/>
        </p:nvSpPr>
        <p:spPr>
          <a:xfrm>
            <a:off x="7848327" y="1473200"/>
            <a:ext cx="1408634" cy="1408634"/>
          </a:xfrm>
          <a:prstGeom prst="arc">
            <a:avLst>
              <a:gd name="adj1" fmla="val 5422556"/>
              <a:gd name="adj2" fmla="val 13638"/>
            </a:avLst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DB3C510-61C6-48FB-87E4-381B6B6D4569}"/>
              </a:ext>
            </a:extLst>
          </p:cNvPr>
          <p:cNvCxnSpPr/>
          <p:nvPr userDrawn="1"/>
        </p:nvCxnSpPr>
        <p:spPr>
          <a:xfrm flipH="1">
            <a:off x="7154119" y="2177516"/>
            <a:ext cx="694208" cy="0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A2084D41-66C4-4D5E-A6D4-CDCF6CBE1F9F}"/>
              </a:ext>
            </a:extLst>
          </p:cNvPr>
          <p:cNvSpPr/>
          <p:nvPr userDrawn="1"/>
        </p:nvSpPr>
        <p:spPr>
          <a:xfrm>
            <a:off x="10238529" y="1619768"/>
            <a:ext cx="1126329" cy="1126329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034FF42-6209-4249-92C7-7D03275FD14A}"/>
              </a:ext>
            </a:extLst>
          </p:cNvPr>
          <p:cNvSpPr/>
          <p:nvPr userDrawn="1"/>
        </p:nvSpPr>
        <p:spPr>
          <a:xfrm>
            <a:off x="10366324" y="1747563"/>
            <a:ext cx="870739" cy="87073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76" name="Arc 75">
            <a:extLst>
              <a:ext uri="{FF2B5EF4-FFF2-40B4-BE49-F238E27FC236}">
                <a16:creationId xmlns:a16="http://schemas.microsoft.com/office/drawing/2014/main" id="{FEAEC38E-8154-4EFD-BD73-769B4C2F8C6B}"/>
              </a:ext>
            </a:extLst>
          </p:cNvPr>
          <p:cNvSpPr/>
          <p:nvPr userDrawn="1"/>
        </p:nvSpPr>
        <p:spPr>
          <a:xfrm>
            <a:off x="10100986" y="1473200"/>
            <a:ext cx="1408634" cy="1408634"/>
          </a:xfrm>
          <a:prstGeom prst="arc">
            <a:avLst>
              <a:gd name="adj1" fmla="val 5422556"/>
              <a:gd name="adj2" fmla="val 13638"/>
            </a:avLst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5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00FD15B-6457-433E-A380-ED01A0795127}"/>
              </a:ext>
            </a:extLst>
          </p:cNvPr>
          <p:cNvCxnSpPr/>
          <p:nvPr userDrawn="1"/>
        </p:nvCxnSpPr>
        <p:spPr>
          <a:xfrm flipH="1">
            <a:off x="9406778" y="2177516"/>
            <a:ext cx="694208" cy="0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17A1AC9-8365-4D63-840B-CE8C90FFEBB2}"/>
              </a:ext>
            </a:extLst>
          </p:cNvPr>
          <p:cNvCxnSpPr>
            <a:cxnSpLocks/>
          </p:cNvCxnSpPr>
          <p:nvPr userDrawn="1"/>
        </p:nvCxnSpPr>
        <p:spPr>
          <a:xfrm>
            <a:off x="4042707" y="2881818"/>
            <a:ext cx="0" cy="730685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EC43291-7518-4E44-B1F5-18706833FE58}"/>
              </a:ext>
            </a:extLst>
          </p:cNvPr>
          <p:cNvCxnSpPr>
            <a:cxnSpLocks/>
          </p:cNvCxnSpPr>
          <p:nvPr userDrawn="1"/>
        </p:nvCxnSpPr>
        <p:spPr>
          <a:xfrm>
            <a:off x="6296376" y="2881818"/>
            <a:ext cx="0" cy="730685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BA169FB9-B4B4-453E-A894-A3B289BB1318}"/>
              </a:ext>
            </a:extLst>
          </p:cNvPr>
          <p:cNvCxnSpPr>
            <a:cxnSpLocks/>
          </p:cNvCxnSpPr>
          <p:nvPr userDrawn="1"/>
        </p:nvCxnSpPr>
        <p:spPr>
          <a:xfrm>
            <a:off x="8549035" y="2881818"/>
            <a:ext cx="0" cy="730685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96B9A2A8-F6C5-4AEC-A07B-4DF7073010F7}"/>
              </a:ext>
            </a:extLst>
          </p:cNvPr>
          <p:cNvCxnSpPr>
            <a:cxnSpLocks/>
          </p:cNvCxnSpPr>
          <p:nvPr userDrawn="1"/>
        </p:nvCxnSpPr>
        <p:spPr>
          <a:xfrm>
            <a:off x="10801693" y="2881818"/>
            <a:ext cx="0" cy="730685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D9833719-D9C5-42FE-8855-689E8FB3A3AA}"/>
              </a:ext>
            </a:extLst>
          </p:cNvPr>
          <p:cNvSpPr/>
          <p:nvPr userDrawn="1"/>
        </p:nvSpPr>
        <p:spPr>
          <a:xfrm>
            <a:off x="834152" y="3717280"/>
            <a:ext cx="1946739" cy="430883"/>
          </a:xfrm>
          <a:prstGeom prst="roundRect">
            <a:avLst>
              <a:gd name="adj" fmla="val 17294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F1C478E1-4B4A-4431-8A97-448CB595FAC0}"/>
              </a:ext>
            </a:extLst>
          </p:cNvPr>
          <p:cNvSpPr/>
          <p:nvPr userDrawn="1"/>
        </p:nvSpPr>
        <p:spPr>
          <a:xfrm>
            <a:off x="3082695" y="3717280"/>
            <a:ext cx="1946739" cy="430883"/>
          </a:xfrm>
          <a:prstGeom prst="roundRect">
            <a:avLst>
              <a:gd name="adj" fmla="val 17294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0" rIns="457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4DB8887-3EE7-429E-A932-4AA3425E8BCF}"/>
              </a:ext>
            </a:extLst>
          </p:cNvPr>
          <p:cNvSpPr/>
          <p:nvPr userDrawn="1"/>
        </p:nvSpPr>
        <p:spPr>
          <a:xfrm>
            <a:off x="5331238" y="3717280"/>
            <a:ext cx="1946739" cy="430883"/>
          </a:xfrm>
          <a:prstGeom prst="roundRect">
            <a:avLst>
              <a:gd name="adj" fmla="val 17294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35DAC78-7837-415C-ADE1-0EC29AC99212}"/>
              </a:ext>
            </a:extLst>
          </p:cNvPr>
          <p:cNvSpPr/>
          <p:nvPr userDrawn="1"/>
        </p:nvSpPr>
        <p:spPr>
          <a:xfrm>
            <a:off x="7579781" y="3717280"/>
            <a:ext cx="1946739" cy="430883"/>
          </a:xfrm>
          <a:prstGeom prst="roundRect">
            <a:avLst>
              <a:gd name="adj" fmla="val 17294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71D6902F-DD69-497D-BE32-ADF2BD8F247E}"/>
              </a:ext>
            </a:extLst>
          </p:cNvPr>
          <p:cNvSpPr/>
          <p:nvPr userDrawn="1"/>
        </p:nvSpPr>
        <p:spPr>
          <a:xfrm>
            <a:off x="9828324" y="3717280"/>
            <a:ext cx="1946739" cy="430883"/>
          </a:xfrm>
          <a:prstGeom prst="roundRect">
            <a:avLst>
              <a:gd name="adj" fmla="val 17294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2389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4779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71685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95580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11947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74337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367266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991161" algn="l" defTabSz="1247790" rtl="0" eaLnBrk="1" latinLnBrk="0" hangingPunct="1">
              <a:defRPr sz="245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47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158" name="Text Placeholder 17">
            <a:extLst>
              <a:ext uri="{FF2B5EF4-FFF2-40B4-BE49-F238E27FC236}">
                <a16:creationId xmlns:a16="http://schemas.microsoft.com/office/drawing/2014/main" id="{AF8391A3-4CBD-4F54-A620-B86AB17A9B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708" y="3809611"/>
            <a:ext cx="16576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59" name="Text Placeholder 17">
            <a:extLst>
              <a:ext uri="{FF2B5EF4-FFF2-40B4-BE49-F238E27FC236}">
                <a16:creationId xmlns:a16="http://schemas.microsoft.com/office/drawing/2014/main" id="{A220D34C-E40D-4252-B06E-038714906F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27251" y="3809611"/>
            <a:ext cx="16576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0" name="Text Placeholder 17">
            <a:extLst>
              <a:ext uri="{FF2B5EF4-FFF2-40B4-BE49-F238E27FC236}">
                <a16:creationId xmlns:a16="http://schemas.microsoft.com/office/drawing/2014/main" id="{3A1C0FE0-2B6F-46DC-BE54-DAA2B3560F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75794" y="3809611"/>
            <a:ext cx="16576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1" name="Text Placeholder 17">
            <a:extLst>
              <a:ext uri="{FF2B5EF4-FFF2-40B4-BE49-F238E27FC236}">
                <a16:creationId xmlns:a16="http://schemas.microsoft.com/office/drawing/2014/main" id="{A3859BC3-FBF8-4AAA-B52D-FB6E1C84B5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24337" y="3809611"/>
            <a:ext cx="16576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2" name="Text Placeholder 17">
            <a:extLst>
              <a:ext uri="{FF2B5EF4-FFF2-40B4-BE49-F238E27FC236}">
                <a16:creationId xmlns:a16="http://schemas.microsoft.com/office/drawing/2014/main" id="{FDB42733-9085-4F8E-985C-E9008D06C5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2880" y="3809611"/>
            <a:ext cx="165762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3" name="Text Placeholder 17">
            <a:extLst>
              <a:ext uri="{FF2B5EF4-FFF2-40B4-BE49-F238E27FC236}">
                <a16:creationId xmlns:a16="http://schemas.microsoft.com/office/drawing/2014/main" id="{EFAB5807-3A24-4590-9047-8DC88D8B41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152" y="4285860"/>
            <a:ext cx="1946739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64" name="Text Placeholder 17">
            <a:extLst>
              <a:ext uri="{FF2B5EF4-FFF2-40B4-BE49-F238E27FC236}">
                <a16:creationId xmlns:a16="http://schemas.microsoft.com/office/drawing/2014/main" id="{8101C594-D0B3-4C35-93E7-ECB9DEBF9B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82695" y="4285860"/>
            <a:ext cx="1946739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65" name="Text Placeholder 17">
            <a:extLst>
              <a:ext uri="{FF2B5EF4-FFF2-40B4-BE49-F238E27FC236}">
                <a16:creationId xmlns:a16="http://schemas.microsoft.com/office/drawing/2014/main" id="{80BA5A42-066B-4A7F-820D-514230E1919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31238" y="4285860"/>
            <a:ext cx="1946739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66" name="Text Placeholder 17">
            <a:extLst>
              <a:ext uri="{FF2B5EF4-FFF2-40B4-BE49-F238E27FC236}">
                <a16:creationId xmlns:a16="http://schemas.microsoft.com/office/drawing/2014/main" id="{D0DE11E2-969C-4F37-8E33-ABCB6ADD4F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9781" y="4285860"/>
            <a:ext cx="1946739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sp>
        <p:nvSpPr>
          <p:cNvPr id="167" name="Text Placeholder 17">
            <a:extLst>
              <a:ext uri="{FF2B5EF4-FFF2-40B4-BE49-F238E27FC236}">
                <a16:creationId xmlns:a16="http://schemas.microsoft.com/office/drawing/2014/main" id="{DAF6DCEE-C54D-4BDF-9B6F-16C7B7045C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28324" y="4285860"/>
            <a:ext cx="1946739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48" name="Picture 47" descr="darkest-green-horz.png">
            <a:extLst>
              <a:ext uri="{FF2B5EF4-FFF2-40B4-BE49-F238E27FC236}">
                <a16:creationId xmlns:a16="http://schemas.microsoft.com/office/drawing/2014/main" id="{9239CBFD-D853-4837-B69E-7F1FFF6E45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6848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Tools for Solution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bject 4">
            <a:extLst>
              <a:ext uri="{FF2B5EF4-FFF2-40B4-BE49-F238E27FC236}">
                <a16:creationId xmlns:a16="http://schemas.microsoft.com/office/drawing/2014/main" id="{5549E9BC-F5DE-4E74-9303-2EA02E58EA47}"/>
              </a:ext>
            </a:extLst>
          </p:cNvPr>
          <p:cNvSpPr/>
          <p:nvPr userDrawn="1"/>
        </p:nvSpPr>
        <p:spPr>
          <a:xfrm>
            <a:off x="9077247" y="1294875"/>
            <a:ext cx="2721054" cy="532925"/>
          </a:xfrm>
          <a:custGeom>
            <a:avLst/>
            <a:gdLst/>
            <a:ahLst/>
            <a:cxnLst/>
            <a:rect l="l" t="t" r="r" b="b"/>
            <a:pathLst>
              <a:path w="2212340" h="431800">
                <a:moveTo>
                  <a:pt x="1996439" y="0"/>
                </a:moveTo>
                <a:lnTo>
                  <a:pt x="0" y="0"/>
                </a:lnTo>
                <a:lnTo>
                  <a:pt x="0" y="431800"/>
                </a:lnTo>
                <a:lnTo>
                  <a:pt x="1996439" y="431800"/>
                </a:lnTo>
                <a:lnTo>
                  <a:pt x="2045948" y="426098"/>
                </a:lnTo>
                <a:lnTo>
                  <a:pt x="2091393" y="409858"/>
                </a:lnTo>
                <a:lnTo>
                  <a:pt x="2131480" y="384373"/>
                </a:lnTo>
                <a:lnTo>
                  <a:pt x="2164913" y="350940"/>
                </a:lnTo>
                <a:lnTo>
                  <a:pt x="2190398" y="310853"/>
                </a:lnTo>
                <a:lnTo>
                  <a:pt x="2206638" y="265408"/>
                </a:lnTo>
                <a:lnTo>
                  <a:pt x="2212339" y="215900"/>
                </a:lnTo>
                <a:lnTo>
                  <a:pt x="2206638" y="166391"/>
                </a:lnTo>
                <a:lnTo>
                  <a:pt x="2190398" y="120946"/>
                </a:lnTo>
                <a:lnTo>
                  <a:pt x="2164913" y="80859"/>
                </a:lnTo>
                <a:lnTo>
                  <a:pt x="2131480" y="47426"/>
                </a:lnTo>
                <a:lnTo>
                  <a:pt x="2091393" y="21941"/>
                </a:lnTo>
                <a:lnTo>
                  <a:pt x="2045948" y="5701"/>
                </a:lnTo>
                <a:lnTo>
                  <a:pt x="199643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0" name="object 5">
            <a:extLst>
              <a:ext uri="{FF2B5EF4-FFF2-40B4-BE49-F238E27FC236}">
                <a16:creationId xmlns:a16="http://schemas.microsoft.com/office/drawing/2014/main" id="{040169DE-2DB1-4BB8-BBB1-2C143F3D68EF}"/>
              </a:ext>
            </a:extLst>
          </p:cNvPr>
          <p:cNvSpPr/>
          <p:nvPr userDrawn="1"/>
        </p:nvSpPr>
        <p:spPr>
          <a:xfrm>
            <a:off x="8183813" y="1294875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3900" h="431800">
                <a:moveTo>
                  <a:pt x="723900" y="0"/>
                </a:moveTo>
                <a:lnTo>
                  <a:pt x="215900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900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900" y="431800"/>
                </a:lnTo>
                <a:lnTo>
                  <a:pt x="723900" y="431800"/>
                </a:lnTo>
                <a:lnTo>
                  <a:pt x="72390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1" name="object 7">
            <a:extLst>
              <a:ext uri="{FF2B5EF4-FFF2-40B4-BE49-F238E27FC236}">
                <a16:creationId xmlns:a16="http://schemas.microsoft.com/office/drawing/2014/main" id="{76444BFE-C8AF-42F0-B00F-C5BD0B15EADF}"/>
              </a:ext>
            </a:extLst>
          </p:cNvPr>
          <p:cNvSpPr/>
          <p:nvPr userDrawn="1"/>
        </p:nvSpPr>
        <p:spPr>
          <a:xfrm>
            <a:off x="9064719" y="3144440"/>
            <a:ext cx="2724178" cy="532925"/>
          </a:xfrm>
          <a:custGeom>
            <a:avLst/>
            <a:gdLst/>
            <a:ahLst/>
            <a:cxnLst/>
            <a:rect l="l" t="t" r="r" b="b"/>
            <a:pathLst>
              <a:path w="2214879" h="431800">
                <a:moveTo>
                  <a:pt x="1998980" y="0"/>
                </a:moveTo>
                <a:lnTo>
                  <a:pt x="0" y="0"/>
                </a:lnTo>
                <a:lnTo>
                  <a:pt x="0" y="431799"/>
                </a:lnTo>
                <a:lnTo>
                  <a:pt x="1998980" y="431799"/>
                </a:lnTo>
                <a:lnTo>
                  <a:pt x="2048488" y="426098"/>
                </a:lnTo>
                <a:lnTo>
                  <a:pt x="2093933" y="409858"/>
                </a:lnTo>
                <a:lnTo>
                  <a:pt x="2134020" y="384373"/>
                </a:lnTo>
                <a:lnTo>
                  <a:pt x="2167453" y="350940"/>
                </a:lnTo>
                <a:lnTo>
                  <a:pt x="2192938" y="310853"/>
                </a:lnTo>
                <a:lnTo>
                  <a:pt x="2209178" y="265408"/>
                </a:lnTo>
                <a:lnTo>
                  <a:pt x="2214880" y="215900"/>
                </a:lnTo>
                <a:lnTo>
                  <a:pt x="2209178" y="166391"/>
                </a:lnTo>
                <a:lnTo>
                  <a:pt x="2192938" y="120946"/>
                </a:lnTo>
                <a:lnTo>
                  <a:pt x="2167453" y="80859"/>
                </a:lnTo>
                <a:lnTo>
                  <a:pt x="2134020" y="47426"/>
                </a:lnTo>
                <a:lnTo>
                  <a:pt x="2093933" y="21941"/>
                </a:lnTo>
                <a:lnTo>
                  <a:pt x="2048488" y="5701"/>
                </a:lnTo>
                <a:lnTo>
                  <a:pt x="199898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2" name="object 8">
            <a:extLst>
              <a:ext uri="{FF2B5EF4-FFF2-40B4-BE49-F238E27FC236}">
                <a16:creationId xmlns:a16="http://schemas.microsoft.com/office/drawing/2014/main" id="{120A77B7-2A24-4DA3-AE32-30074CF7E10C}"/>
              </a:ext>
            </a:extLst>
          </p:cNvPr>
          <p:cNvSpPr/>
          <p:nvPr userDrawn="1"/>
        </p:nvSpPr>
        <p:spPr>
          <a:xfrm>
            <a:off x="8183813" y="3144440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6440" h="431800">
                <a:moveTo>
                  <a:pt x="726440" y="0"/>
                </a:moveTo>
                <a:lnTo>
                  <a:pt x="215900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900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900" y="431799"/>
                </a:lnTo>
                <a:lnTo>
                  <a:pt x="726440" y="431799"/>
                </a:lnTo>
                <a:lnTo>
                  <a:pt x="72644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3" name="object 10">
            <a:extLst>
              <a:ext uri="{FF2B5EF4-FFF2-40B4-BE49-F238E27FC236}">
                <a16:creationId xmlns:a16="http://schemas.microsoft.com/office/drawing/2014/main" id="{8CE86701-0180-4626-BFCE-F03260EF54C6}"/>
              </a:ext>
            </a:extLst>
          </p:cNvPr>
          <p:cNvSpPr/>
          <p:nvPr userDrawn="1"/>
        </p:nvSpPr>
        <p:spPr>
          <a:xfrm>
            <a:off x="9077246" y="4852935"/>
            <a:ext cx="2721054" cy="532925"/>
          </a:xfrm>
          <a:custGeom>
            <a:avLst/>
            <a:gdLst/>
            <a:ahLst/>
            <a:cxnLst/>
            <a:rect l="l" t="t" r="r" b="b"/>
            <a:pathLst>
              <a:path w="2212340" h="431800">
                <a:moveTo>
                  <a:pt x="1996439" y="0"/>
                </a:moveTo>
                <a:lnTo>
                  <a:pt x="0" y="0"/>
                </a:lnTo>
                <a:lnTo>
                  <a:pt x="0" y="431799"/>
                </a:lnTo>
                <a:lnTo>
                  <a:pt x="1996439" y="431799"/>
                </a:lnTo>
                <a:lnTo>
                  <a:pt x="2045948" y="426098"/>
                </a:lnTo>
                <a:lnTo>
                  <a:pt x="2091393" y="409858"/>
                </a:lnTo>
                <a:lnTo>
                  <a:pt x="2131480" y="384373"/>
                </a:lnTo>
                <a:lnTo>
                  <a:pt x="2164913" y="350940"/>
                </a:lnTo>
                <a:lnTo>
                  <a:pt x="2190398" y="310853"/>
                </a:lnTo>
                <a:lnTo>
                  <a:pt x="2206638" y="265408"/>
                </a:lnTo>
                <a:lnTo>
                  <a:pt x="2212339" y="215899"/>
                </a:lnTo>
                <a:lnTo>
                  <a:pt x="2206638" y="166391"/>
                </a:lnTo>
                <a:lnTo>
                  <a:pt x="2190398" y="120946"/>
                </a:lnTo>
                <a:lnTo>
                  <a:pt x="2164913" y="80859"/>
                </a:lnTo>
                <a:lnTo>
                  <a:pt x="2131480" y="47426"/>
                </a:lnTo>
                <a:lnTo>
                  <a:pt x="2091393" y="21941"/>
                </a:lnTo>
                <a:lnTo>
                  <a:pt x="2045948" y="5701"/>
                </a:lnTo>
                <a:lnTo>
                  <a:pt x="199643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4" name="object 11">
            <a:extLst>
              <a:ext uri="{FF2B5EF4-FFF2-40B4-BE49-F238E27FC236}">
                <a16:creationId xmlns:a16="http://schemas.microsoft.com/office/drawing/2014/main" id="{69560EB6-545E-4377-853E-AD90E5B6D3BB}"/>
              </a:ext>
            </a:extLst>
          </p:cNvPr>
          <p:cNvSpPr/>
          <p:nvPr userDrawn="1"/>
        </p:nvSpPr>
        <p:spPr>
          <a:xfrm>
            <a:off x="8183813" y="4852935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6440" h="431800">
                <a:moveTo>
                  <a:pt x="726440" y="0"/>
                </a:moveTo>
                <a:lnTo>
                  <a:pt x="215900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899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900" y="431799"/>
                </a:lnTo>
                <a:lnTo>
                  <a:pt x="726440" y="431799"/>
                </a:lnTo>
                <a:lnTo>
                  <a:pt x="72644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5" name="object 12">
            <a:extLst>
              <a:ext uri="{FF2B5EF4-FFF2-40B4-BE49-F238E27FC236}">
                <a16:creationId xmlns:a16="http://schemas.microsoft.com/office/drawing/2014/main" id="{7E7D27A1-FB84-477F-9B3D-DA4E73B28227}"/>
              </a:ext>
            </a:extLst>
          </p:cNvPr>
          <p:cNvSpPr/>
          <p:nvPr userDrawn="1"/>
        </p:nvSpPr>
        <p:spPr>
          <a:xfrm>
            <a:off x="6941628" y="1807424"/>
            <a:ext cx="1137168" cy="1119143"/>
          </a:xfrm>
          <a:custGeom>
            <a:avLst/>
            <a:gdLst/>
            <a:ahLst/>
            <a:cxnLst/>
            <a:rect l="l" t="t" r="r" b="b"/>
            <a:pathLst>
              <a:path w="921384" h="906780">
                <a:moveTo>
                  <a:pt x="862514" y="48941"/>
                </a:moveTo>
                <a:lnTo>
                  <a:pt x="0" y="897254"/>
                </a:lnTo>
                <a:lnTo>
                  <a:pt x="8889" y="906399"/>
                </a:lnTo>
                <a:lnTo>
                  <a:pt x="871394" y="57969"/>
                </a:lnTo>
                <a:lnTo>
                  <a:pt x="862514" y="48941"/>
                </a:lnTo>
                <a:close/>
              </a:path>
              <a:path w="921384" h="906780">
                <a:moveTo>
                  <a:pt x="907651" y="40004"/>
                </a:moveTo>
                <a:lnTo>
                  <a:pt x="871601" y="40004"/>
                </a:lnTo>
                <a:lnTo>
                  <a:pt x="880490" y="49022"/>
                </a:lnTo>
                <a:lnTo>
                  <a:pt x="871394" y="57969"/>
                </a:lnTo>
                <a:lnTo>
                  <a:pt x="893699" y="80644"/>
                </a:lnTo>
                <a:lnTo>
                  <a:pt x="907651" y="40004"/>
                </a:lnTo>
                <a:close/>
              </a:path>
              <a:path w="921384" h="906780">
                <a:moveTo>
                  <a:pt x="871601" y="40004"/>
                </a:moveTo>
                <a:lnTo>
                  <a:pt x="862514" y="48941"/>
                </a:lnTo>
                <a:lnTo>
                  <a:pt x="871394" y="57969"/>
                </a:lnTo>
                <a:lnTo>
                  <a:pt x="880490" y="49022"/>
                </a:lnTo>
                <a:lnTo>
                  <a:pt x="871601" y="40004"/>
                </a:lnTo>
                <a:close/>
              </a:path>
              <a:path w="921384" h="906780">
                <a:moveTo>
                  <a:pt x="921384" y="0"/>
                </a:moveTo>
                <a:lnTo>
                  <a:pt x="840231" y="26288"/>
                </a:lnTo>
                <a:lnTo>
                  <a:pt x="862514" y="48941"/>
                </a:lnTo>
                <a:lnTo>
                  <a:pt x="871601" y="40004"/>
                </a:lnTo>
                <a:lnTo>
                  <a:pt x="907651" y="40004"/>
                </a:lnTo>
                <a:lnTo>
                  <a:pt x="921384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6" name="object 13">
            <a:extLst>
              <a:ext uri="{FF2B5EF4-FFF2-40B4-BE49-F238E27FC236}">
                <a16:creationId xmlns:a16="http://schemas.microsoft.com/office/drawing/2014/main" id="{B0E13D80-AF21-4E1D-8196-78285B9F6999}"/>
              </a:ext>
            </a:extLst>
          </p:cNvPr>
          <p:cNvSpPr/>
          <p:nvPr userDrawn="1"/>
        </p:nvSpPr>
        <p:spPr>
          <a:xfrm>
            <a:off x="6990846" y="3350398"/>
            <a:ext cx="1065067" cy="94046"/>
          </a:xfrm>
          <a:custGeom>
            <a:avLst/>
            <a:gdLst/>
            <a:ahLst/>
            <a:cxnLst/>
            <a:rect l="l" t="t" r="r" b="b"/>
            <a:pathLst>
              <a:path w="862965" h="76200">
                <a:moveTo>
                  <a:pt x="786764" y="0"/>
                </a:moveTo>
                <a:lnTo>
                  <a:pt x="786394" y="31745"/>
                </a:lnTo>
                <a:lnTo>
                  <a:pt x="799083" y="31876"/>
                </a:lnTo>
                <a:lnTo>
                  <a:pt x="798956" y="44576"/>
                </a:lnTo>
                <a:lnTo>
                  <a:pt x="786244" y="44576"/>
                </a:lnTo>
                <a:lnTo>
                  <a:pt x="785876" y="76200"/>
                </a:lnTo>
                <a:lnTo>
                  <a:pt x="850735" y="44576"/>
                </a:lnTo>
                <a:lnTo>
                  <a:pt x="798956" y="44576"/>
                </a:lnTo>
                <a:lnTo>
                  <a:pt x="786246" y="44445"/>
                </a:lnTo>
                <a:lnTo>
                  <a:pt x="851004" y="44445"/>
                </a:lnTo>
                <a:lnTo>
                  <a:pt x="862456" y="38862"/>
                </a:lnTo>
                <a:lnTo>
                  <a:pt x="786764" y="0"/>
                </a:lnTo>
                <a:close/>
              </a:path>
              <a:path w="862965" h="76200">
                <a:moveTo>
                  <a:pt x="786394" y="31745"/>
                </a:moveTo>
                <a:lnTo>
                  <a:pt x="786246" y="44445"/>
                </a:lnTo>
                <a:lnTo>
                  <a:pt x="798956" y="44576"/>
                </a:lnTo>
                <a:lnTo>
                  <a:pt x="799083" y="31876"/>
                </a:lnTo>
                <a:lnTo>
                  <a:pt x="786394" y="31745"/>
                </a:lnTo>
                <a:close/>
              </a:path>
              <a:path w="862965" h="76200">
                <a:moveTo>
                  <a:pt x="253" y="23622"/>
                </a:moveTo>
                <a:lnTo>
                  <a:pt x="0" y="36322"/>
                </a:lnTo>
                <a:lnTo>
                  <a:pt x="786246" y="44445"/>
                </a:lnTo>
                <a:lnTo>
                  <a:pt x="786394" y="31745"/>
                </a:lnTo>
                <a:lnTo>
                  <a:pt x="253" y="23622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7" name="object 15">
            <a:extLst>
              <a:ext uri="{FF2B5EF4-FFF2-40B4-BE49-F238E27FC236}">
                <a16:creationId xmlns:a16="http://schemas.microsoft.com/office/drawing/2014/main" id="{19654CF7-2915-4BAE-8893-EBD601CA3F0C}"/>
              </a:ext>
            </a:extLst>
          </p:cNvPr>
          <p:cNvSpPr/>
          <p:nvPr userDrawn="1"/>
        </p:nvSpPr>
        <p:spPr>
          <a:xfrm>
            <a:off x="393701" y="1294875"/>
            <a:ext cx="2721054" cy="532925"/>
          </a:xfrm>
          <a:custGeom>
            <a:avLst/>
            <a:gdLst/>
            <a:ahLst/>
            <a:cxnLst/>
            <a:rect l="l" t="t" r="r" b="b"/>
            <a:pathLst>
              <a:path w="2212340" h="431800">
                <a:moveTo>
                  <a:pt x="2212340" y="0"/>
                </a:moveTo>
                <a:lnTo>
                  <a:pt x="215899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900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899" y="431800"/>
                </a:lnTo>
                <a:lnTo>
                  <a:pt x="2212340" y="431800"/>
                </a:lnTo>
                <a:lnTo>
                  <a:pt x="22123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8" name="object 16">
            <a:extLst>
              <a:ext uri="{FF2B5EF4-FFF2-40B4-BE49-F238E27FC236}">
                <a16:creationId xmlns:a16="http://schemas.microsoft.com/office/drawing/2014/main" id="{FB0E968C-113E-428F-81AB-2161ED61723A}"/>
              </a:ext>
            </a:extLst>
          </p:cNvPr>
          <p:cNvSpPr/>
          <p:nvPr userDrawn="1"/>
        </p:nvSpPr>
        <p:spPr>
          <a:xfrm>
            <a:off x="3114755" y="1294875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6439" h="431800">
                <a:moveTo>
                  <a:pt x="510539" y="0"/>
                </a:moveTo>
                <a:lnTo>
                  <a:pt x="0" y="0"/>
                </a:lnTo>
                <a:lnTo>
                  <a:pt x="0" y="431800"/>
                </a:lnTo>
                <a:lnTo>
                  <a:pt x="510539" y="431800"/>
                </a:lnTo>
                <a:lnTo>
                  <a:pt x="560048" y="426098"/>
                </a:lnTo>
                <a:lnTo>
                  <a:pt x="605493" y="409858"/>
                </a:lnTo>
                <a:lnTo>
                  <a:pt x="645580" y="384373"/>
                </a:lnTo>
                <a:lnTo>
                  <a:pt x="679013" y="350940"/>
                </a:lnTo>
                <a:lnTo>
                  <a:pt x="704498" y="310853"/>
                </a:lnTo>
                <a:lnTo>
                  <a:pt x="720738" y="265408"/>
                </a:lnTo>
                <a:lnTo>
                  <a:pt x="726439" y="215900"/>
                </a:lnTo>
                <a:lnTo>
                  <a:pt x="720738" y="166391"/>
                </a:lnTo>
                <a:lnTo>
                  <a:pt x="704498" y="120946"/>
                </a:lnTo>
                <a:lnTo>
                  <a:pt x="679013" y="80859"/>
                </a:lnTo>
                <a:lnTo>
                  <a:pt x="645580" y="47426"/>
                </a:lnTo>
                <a:lnTo>
                  <a:pt x="605493" y="21941"/>
                </a:lnTo>
                <a:lnTo>
                  <a:pt x="560048" y="5701"/>
                </a:lnTo>
                <a:lnTo>
                  <a:pt x="510539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9" name="object 18">
            <a:extLst>
              <a:ext uri="{FF2B5EF4-FFF2-40B4-BE49-F238E27FC236}">
                <a16:creationId xmlns:a16="http://schemas.microsoft.com/office/drawing/2014/main" id="{A26DB8D6-37E4-43A1-B059-1586ED9007EA}"/>
              </a:ext>
            </a:extLst>
          </p:cNvPr>
          <p:cNvSpPr/>
          <p:nvPr userDrawn="1"/>
        </p:nvSpPr>
        <p:spPr>
          <a:xfrm>
            <a:off x="403108" y="3144440"/>
            <a:ext cx="2724178" cy="532925"/>
          </a:xfrm>
          <a:custGeom>
            <a:avLst/>
            <a:gdLst/>
            <a:ahLst/>
            <a:cxnLst/>
            <a:rect l="l" t="t" r="r" b="b"/>
            <a:pathLst>
              <a:path w="2214879" h="431800">
                <a:moveTo>
                  <a:pt x="2214879" y="0"/>
                </a:moveTo>
                <a:lnTo>
                  <a:pt x="215900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900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900" y="431799"/>
                </a:lnTo>
                <a:lnTo>
                  <a:pt x="2214879" y="431799"/>
                </a:lnTo>
                <a:lnTo>
                  <a:pt x="221487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0" name="object 19">
            <a:extLst>
              <a:ext uri="{FF2B5EF4-FFF2-40B4-BE49-F238E27FC236}">
                <a16:creationId xmlns:a16="http://schemas.microsoft.com/office/drawing/2014/main" id="{13E74D5D-5646-40EE-B932-A57F897CA259}"/>
              </a:ext>
            </a:extLst>
          </p:cNvPr>
          <p:cNvSpPr/>
          <p:nvPr userDrawn="1"/>
        </p:nvSpPr>
        <p:spPr>
          <a:xfrm>
            <a:off x="3114755" y="3144440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6439" h="431800">
                <a:moveTo>
                  <a:pt x="510539" y="0"/>
                </a:moveTo>
                <a:lnTo>
                  <a:pt x="0" y="0"/>
                </a:lnTo>
                <a:lnTo>
                  <a:pt x="0" y="431799"/>
                </a:lnTo>
                <a:lnTo>
                  <a:pt x="510539" y="431799"/>
                </a:lnTo>
                <a:lnTo>
                  <a:pt x="560048" y="426098"/>
                </a:lnTo>
                <a:lnTo>
                  <a:pt x="605493" y="409858"/>
                </a:lnTo>
                <a:lnTo>
                  <a:pt x="645580" y="384373"/>
                </a:lnTo>
                <a:lnTo>
                  <a:pt x="679013" y="350940"/>
                </a:lnTo>
                <a:lnTo>
                  <a:pt x="704498" y="310853"/>
                </a:lnTo>
                <a:lnTo>
                  <a:pt x="720738" y="265408"/>
                </a:lnTo>
                <a:lnTo>
                  <a:pt x="726439" y="215900"/>
                </a:lnTo>
                <a:lnTo>
                  <a:pt x="720738" y="166391"/>
                </a:lnTo>
                <a:lnTo>
                  <a:pt x="704498" y="120946"/>
                </a:lnTo>
                <a:lnTo>
                  <a:pt x="679013" y="80859"/>
                </a:lnTo>
                <a:lnTo>
                  <a:pt x="645580" y="47426"/>
                </a:lnTo>
                <a:lnTo>
                  <a:pt x="605493" y="21941"/>
                </a:lnTo>
                <a:lnTo>
                  <a:pt x="560048" y="5701"/>
                </a:lnTo>
                <a:lnTo>
                  <a:pt x="510539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1" name="object 21">
            <a:extLst>
              <a:ext uri="{FF2B5EF4-FFF2-40B4-BE49-F238E27FC236}">
                <a16:creationId xmlns:a16="http://schemas.microsoft.com/office/drawing/2014/main" id="{DE024B8B-486D-45E8-921E-D373F6C2D2DC}"/>
              </a:ext>
            </a:extLst>
          </p:cNvPr>
          <p:cNvSpPr/>
          <p:nvPr userDrawn="1"/>
        </p:nvSpPr>
        <p:spPr>
          <a:xfrm>
            <a:off x="393701" y="4852935"/>
            <a:ext cx="2721054" cy="532925"/>
          </a:xfrm>
          <a:custGeom>
            <a:avLst/>
            <a:gdLst/>
            <a:ahLst/>
            <a:cxnLst/>
            <a:rect l="l" t="t" r="r" b="b"/>
            <a:pathLst>
              <a:path w="2212340" h="431800">
                <a:moveTo>
                  <a:pt x="2212340" y="0"/>
                </a:moveTo>
                <a:lnTo>
                  <a:pt x="215899" y="0"/>
                </a:lnTo>
                <a:lnTo>
                  <a:pt x="166391" y="5701"/>
                </a:lnTo>
                <a:lnTo>
                  <a:pt x="120946" y="21941"/>
                </a:lnTo>
                <a:lnTo>
                  <a:pt x="80859" y="47426"/>
                </a:lnTo>
                <a:lnTo>
                  <a:pt x="47426" y="80859"/>
                </a:lnTo>
                <a:lnTo>
                  <a:pt x="21941" y="120946"/>
                </a:lnTo>
                <a:lnTo>
                  <a:pt x="5701" y="166391"/>
                </a:lnTo>
                <a:lnTo>
                  <a:pt x="0" y="215900"/>
                </a:lnTo>
                <a:lnTo>
                  <a:pt x="5701" y="265408"/>
                </a:lnTo>
                <a:lnTo>
                  <a:pt x="21941" y="310853"/>
                </a:lnTo>
                <a:lnTo>
                  <a:pt x="47426" y="350940"/>
                </a:lnTo>
                <a:lnTo>
                  <a:pt x="80859" y="384373"/>
                </a:lnTo>
                <a:lnTo>
                  <a:pt x="120946" y="409858"/>
                </a:lnTo>
                <a:lnTo>
                  <a:pt x="166391" y="426098"/>
                </a:lnTo>
                <a:lnTo>
                  <a:pt x="215899" y="431800"/>
                </a:lnTo>
                <a:lnTo>
                  <a:pt x="2212340" y="431800"/>
                </a:lnTo>
                <a:lnTo>
                  <a:pt x="22123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2" name="object 22">
            <a:extLst>
              <a:ext uri="{FF2B5EF4-FFF2-40B4-BE49-F238E27FC236}">
                <a16:creationId xmlns:a16="http://schemas.microsoft.com/office/drawing/2014/main" id="{49D1D29D-9BA4-4EE8-86D8-463786175AB9}"/>
              </a:ext>
            </a:extLst>
          </p:cNvPr>
          <p:cNvSpPr/>
          <p:nvPr userDrawn="1"/>
        </p:nvSpPr>
        <p:spPr>
          <a:xfrm>
            <a:off x="3114755" y="4852935"/>
            <a:ext cx="896568" cy="532925"/>
          </a:xfrm>
          <a:custGeom>
            <a:avLst/>
            <a:gdLst/>
            <a:ahLst/>
            <a:cxnLst/>
            <a:rect l="l" t="t" r="r" b="b"/>
            <a:pathLst>
              <a:path w="726439" h="431800">
                <a:moveTo>
                  <a:pt x="510539" y="0"/>
                </a:moveTo>
                <a:lnTo>
                  <a:pt x="0" y="0"/>
                </a:lnTo>
                <a:lnTo>
                  <a:pt x="0" y="431800"/>
                </a:lnTo>
                <a:lnTo>
                  <a:pt x="510539" y="431800"/>
                </a:lnTo>
                <a:lnTo>
                  <a:pt x="560048" y="426098"/>
                </a:lnTo>
                <a:lnTo>
                  <a:pt x="605493" y="409858"/>
                </a:lnTo>
                <a:lnTo>
                  <a:pt x="645580" y="384373"/>
                </a:lnTo>
                <a:lnTo>
                  <a:pt x="679013" y="350940"/>
                </a:lnTo>
                <a:lnTo>
                  <a:pt x="704498" y="310853"/>
                </a:lnTo>
                <a:lnTo>
                  <a:pt x="720738" y="265408"/>
                </a:lnTo>
                <a:lnTo>
                  <a:pt x="726439" y="215900"/>
                </a:lnTo>
                <a:lnTo>
                  <a:pt x="720738" y="166391"/>
                </a:lnTo>
                <a:lnTo>
                  <a:pt x="704498" y="120946"/>
                </a:lnTo>
                <a:lnTo>
                  <a:pt x="679013" y="80859"/>
                </a:lnTo>
                <a:lnTo>
                  <a:pt x="645580" y="47426"/>
                </a:lnTo>
                <a:lnTo>
                  <a:pt x="605493" y="21941"/>
                </a:lnTo>
                <a:lnTo>
                  <a:pt x="560048" y="5701"/>
                </a:lnTo>
                <a:lnTo>
                  <a:pt x="510539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3" name="object 23">
            <a:extLst>
              <a:ext uri="{FF2B5EF4-FFF2-40B4-BE49-F238E27FC236}">
                <a16:creationId xmlns:a16="http://schemas.microsoft.com/office/drawing/2014/main" id="{3244789A-9956-4DAB-9BD0-857B567B70F2}"/>
              </a:ext>
            </a:extLst>
          </p:cNvPr>
          <p:cNvSpPr/>
          <p:nvPr userDrawn="1"/>
        </p:nvSpPr>
        <p:spPr>
          <a:xfrm>
            <a:off x="4122611" y="1841907"/>
            <a:ext cx="1138736" cy="1119143"/>
          </a:xfrm>
          <a:custGeom>
            <a:avLst/>
            <a:gdLst/>
            <a:ahLst/>
            <a:cxnLst/>
            <a:rect l="l" t="t" r="r" b="b"/>
            <a:pathLst>
              <a:path w="922654" h="906780">
                <a:moveTo>
                  <a:pt x="58836" y="48900"/>
                </a:moveTo>
                <a:lnTo>
                  <a:pt x="49967" y="57939"/>
                </a:lnTo>
                <a:lnTo>
                  <a:pt x="913256" y="906399"/>
                </a:lnTo>
                <a:lnTo>
                  <a:pt x="922146" y="897254"/>
                </a:lnTo>
                <a:lnTo>
                  <a:pt x="58836" y="48900"/>
                </a:lnTo>
                <a:close/>
              </a:path>
              <a:path w="922654" h="906780">
                <a:moveTo>
                  <a:pt x="0" y="0"/>
                </a:moveTo>
                <a:lnTo>
                  <a:pt x="27685" y="80645"/>
                </a:lnTo>
                <a:lnTo>
                  <a:pt x="49967" y="57939"/>
                </a:lnTo>
                <a:lnTo>
                  <a:pt x="40893" y="49022"/>
                </a:lnTo>
                <a:lnTo>
                  <a:pt x="49783" y="40004"/>
                </a:lnTo>
                <a:lnTo>
                  <a:pt x="67566" y="40004"/>
                </a:lnTo>
                <a:lnTo>
                  <a:pt x="81025" y="26288"/>
                </a:lnTo>
                <a:lnTo>
                  <a:pt x="0" y="0"/>
                </a:lnTo>
                <a:close/>
              </a:path>
              <a:path w="922654" h="906780">
                <a:moveTo>
                  <a:pt x="49783" y="40004"/>
                </a:moveTo>
                <a:lnTo>
                  <a:pt x="40893" y="49022"/>
                </a:lnTo>
                <a:lnTo>
                  <a:pt x="49967" y="57939"/>
                </a:lnTo>
                <a:lnTo>
                  <a:pt x="58836" y="48900"/>
                </a:lnTo>
                <a:lnTo>
                  <a:pt x="49783" y="40004"/>
                </a:lnTo>
                <a:close/>
              </a:path>
              <a:path w="922654" h="906780">
                <a:moveTo>
                  <a:pt x="67566" y="40004"/>
                </a:moveTo>
                <a:lnTo>
                  <a:pt x="49783" y="40004"/>
                </a:lnTo>
                <a:lnTo>
                  <a:pt x="58836" y="48900"/>
                </a:lnTo>
                <a:lnTo>
                  <a:pt x="67566" y="40004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4" name="object 24">
            <a:extLst>
              <a:ext uri="{FF2B5EF4-FFF2-40B4-BE49-F238E27FC236}">
                <a16:creationId xmlns:a16="http://schemas.microsoft.com/office/drawing/2014/main" id="{B38D7066-7091-4649-B778-12AEDF125B10}"/>
              </a:ext>
            </a:extLst>
          </p:cNvPr>
          <p:cNvSpPr/>
          <p:nvPr userDrawn="1"/>
        </p:nvSpPr>
        <p:spPr>
          <a:xfrm>
            <a:off x="4144555" y="3381747"/>
            <a:ext cx="1065850" cy="94046"/>
          </a:xfrm>
          <a:custGeom>
            <a:avLst/>
            <a:gdLst/>
            <a:ahLst/>
            <a:cxnLst/>
            <a:rect l="l" t="t" r="r" b="b"/>
            <a:pathLst>
              <a:path w="863600" h="76200">
                <a:moveTo>
                  <a:pt x="75819" y="0"/>
                </a:moveTo>
                <a:lnTo>
                  <a:pt x="0" y="38862"/>
                </a:lnTo>
                <a:lnTo>
                  <a:pt x="76580" y="76200"/>
                </a:lnTo>
                <a:lnTo>
                  <a:pt x="76264" y="44576"/>
                </a:lnTo>
                <a:lnTo>
                  <a:pt x="63500" y="44576"/>
                </a:lnTo>
                <a:lnTo>
                  <a:pt x="63373" y="31876"/>
                </a:lnTo>
                <a:lnTo>
                  <a:pt x="76136" y="31745"/>
                </a:lnTo>
                <a:lnTo>
                  <a:pt x="75819" y="0"/>
                </a:lnTo>
                <a:close/>
              </a:path>
              <a:path w="863600" h="76200">
                <a:moveTo>
                  <a:pt x="76136" y="31745"/>
                </a:moveTo>
                <a:lnTo>
                  <a:pt x="63373" y="31876"/>
                </a:lnTo>
                <a:lnTo>
                  <a:pt x="63500" y="44576"/>
                </a:lnTo>
                <a:lnTo>
                  <a:pt x="76263" y="44445"/>
                </a:lnTo>
                <a:lnTo>
                  <a:pt x="76136" y="31745"/>
                </a:lnTo>
                <a:close/>
              </a:path>
              <a:path w="863600" h="76200">
                <a:moveTo>
                  <a:pt x="76263" y="44445"/>
                </a:moveTo>
                <a:lnTo>
                  <a:pt x="63500" y="44576"/>
                </a:lnTo>
                <a:lnTo>
                  <a:pt x="76264" y="44576"/>
                </a:lnTo>
                <a:lnTo>
                  <a:pt x="76263" y="44445"/>
                </a:lnTo>
                <a:close/>
              </a:path>
              <a:path w="863600" h="76200">
                <a:moveTo>
                  <a:pt x="863091" y="23622"/>
                </a:moveTo>
                <a:lnTo>
                  <a:pt x="76136" y="31745"/>
                </a:lnTo>
                <a:lnTo>
                  <a:pt x="76263" y="44445"/>
                </a:lnTo>
                <a:lnTo>
                  <a:pt x="863219" y="36322"/>
                </a:lnTo>
                <a:lnTo>
                  <a:pt x="863091" y="23622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5" name="object 25">
            <a:extLst>
              <a:ext uri="{FF2B5EF4-FFF2-40B4-BE49-F238E27FC236}">
                <a16:creationId xmlns:a16="http://schemas.microsoft.com/office/drawing/2014/main" id="{3C7EFE9A-C077-4067-8879-7760348733D5}"/>
              </a:ext>
            </a:extLst>
          </p:cNvPr>
          <p:cNvSpPr/>
          <p:nvPr userDrawn="1"/>
        </p:nvSpPr>
        <p:spPr>
          <a:xfrm>
            <a:off x="4138285" y="3864516"/>
            <a:ext cx="1138736" cy="1101902"/>
          </a:xfrm>
          <a:custGeom>
            <a:avLst/>
            <a:gdLst/>
            <a:ahLst/>
            <a:cxnLst/>
            <a:rect l="l" t="t" r="r" b="b"/>
            <a:pathLst>
              <a:path w="922654" h="892810">
                <a:moveTo>
                  <a:pt x="28320" y="811911"/>
                </a:moveTo>
                <a:lnTo>
                  <a:pt x="0" y="892302"/>
                </a:lnTo>
                <a:lnTo>
                  <a:pt x="81279" y="866648"/>
                </a:lnTo>
                <a:lnTo>
                  <a:pt x="67763" y="852678"/>
                </a:lnTo>
                <a:lnTo>
                  <a:pt x="50037" y="852678"/>
                </a:lnTo>
                <a:lnTo>
                  <a:pt x="41275" y="843534"/>
                </a:lnTo>
                <a:lnTo>
                  <a:pt x="50387" y="834718"/>
                </a:lnTo>
                <a:lnTo>
                  <a:pt x="28320" y="811911"/>
                </a:lnTo>
                <a:close/>
              </a:path>
              <a:path w="922654" h="892810">
                <a:moveTo>
                  <a:pt x="50387" y="834718"/>
                </a:moveTo>
                <a:lnTo>
                  <a:pt x="41275" y="843534"/>
                </a:lnTo>
                <a:lnTo>
                  <a:pt x="50037" y="852678"/>
                </a:lnTo>
                <a:lnTo>
                  <a:pt x="59194" y="843821"/>
                </a:lnTo>
                <a:lnTo>
                  <a:pt x="50387" y="834718"/>
                </a:lnTo>
                <a:close/>
              </a:path>
              <a:path w="922654" h="892810">
                <a:moveTo>
                  <a:pt x="59194" y="843821"/>
                </a:moveTo>
                <a:lnTo>
                  <a:pt x="50037" y="852678"/>
                </a:lnTo>
                <a:lnTo>
                  <a:pt x="67763" y="852678"/>
                </a:lnTo>
                <a:lnTo>
                  <a:pt x="59194" y="843821"/>
                </a:lnTo>
                <a:close/>
              </a:path>
              <a:path w="922654" h="892810">
                <a:moveTo>
                  <a:pt x="913256" y="0"/>
                </a:moveTo>
                <a:lnTo>
                  <a:pt x="50387" y="834718"/>
                </a:lnTo>
                <a:lnTo>
                  <a:pt x="59194" y="843821"/>
                </a:lnTo>
                <a:lnTo>
                  <a:pt x="922146" y="9144"/>
                </a:lnTo>
                <a:lnTo>
                  <a:pt x="913256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6" name="object 26">
            <a:extLst>
              <a:ext uri="{FF2B5EF4-FFF2-40B4-BE49-F238E27FC236}">
                <a16:creationId xmlns:a16="http://schemas.microsoft.com/office/drawing/2014/main" id="{1F014A12-A7E9-40D5-BE9D-D6262BD16D10}"/>
              </a:ext>
            </a:extLst>
          </p:cNvPr>
          <p:cNvSpPr/>
          <p:nvPr userDrawn="1"/>
        </p:nvSpPr>
        <p:spPr>
          <a:xfrm>
            <a:off x="6951032" y="3864516"/>
            <a:ext cx="1104252" cy="1086227"/>
          </a:xfrm>
          <a:custGeom>
            <a:avLst/>
            <a:gdLst/>
            <a:ahLst/>
            <a:cxnLst/>
            <a:rect l="l" t="t" r="r" b="b"/>
            <a:pathLst>
              <a:path w="894715" h="880110">
                <a:moveTo>
                  <a:pt x="835970" y="831169"/>
                </a:moveTo>
                <a:lnTo>
                  <a:pt x="813689" y="853821"/>
                </a:lnTo>
                <a:lnTo>
                  <a:pt x="894715" y="880110"/>
                </a:lnTo>
                <a:lnTo>
                  <a:pt x="881044" y="840105"/>
                </a:lnTo>
                <a:lnTo>
                  <a:pt x="845058" y="840105"/>
                </a:lnTo>
                <a:lnTo>
                  <a:pt x="835970" y="831169"/>
                </a:lnTo>
                <a:close/>
              </a:path>
              <a:path w="894715" h="880110">
                <a:moveTo>
                  <a:pt x="844913" y="822077"/>
                </a:moveTo>
                <a:lnTo>
                  <a:pt x="835970" y="831169"/>
                </a:lnTo>
                <a:lnTo>
                  <a:pt x="845058" y="840105"/>
                </a:lnTo>
                <a:lnTo>
                  <a:pt x="853948" y="830961"/>
                </a:lnTo>
                <a:lnTo>
                  <a:pt x="844913" y="822077"/>
                </a:lnTo>
                <a:close/>
              </a:path>
              <a:path w="894715" h="880110">
                <a:moveTo>
                  <a:pt x="867156" y="799465"/>
                </a:moveTo>
                <a:lnTo>
                  <a:pt x="844913" y="822077"/>
                </a:lnTo>
                <a:lnTo>
                  <a:pt x="853948" y="830961"/>
                </a:lnTo>
                <a:lnTo>
                  <a:pt x="845058" y="840105"/>
                </a:lnTo>
                <a:lnTo>
                  <a:pt x="881044" y="840105"/>
                </a:lnTo>
                <a:lnTo>
                  <a:pt x="867156" y="799465"/>
                </a:lnTo>
                <a:close/>
              </a:path>
              <a:path w="894715" h="880110">
                <a:moveTo>
                  <a:pt x="8890" y="0"/>
                </a:moveTo>
                <a:lnTo>
                  <a:pt x="0" y="9144"/>
                </a:lnTo>
                <a:lnTo>
                  <a:pt x="835970" y="831169"/>
                </a:lnTo>
                <a:lnTo>
                  <a:pt x="844913" y="822077"/>
                </a:lnTo>
                <a:lnTo>
                  <a:pt x="889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88DB5A05-6975-49C8-AE3A-1CAF71094B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3796" y="1453615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4F1AD6D5-C69B-4933-BF4D-DE98CAE5DF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3796" y="3303180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200AA385-FC23-4724-AEDE-B8EDAB79B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3796" y="5011675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B74447C0-296C-4128-8EF5-9AC1B7521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97342" y="1453615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2" name="Text Placeholder 17">
            <a:extLst>
              <a:ext uri="{FF2B5EF4-FFF2-40B4-BE49-F238E27FC236}">
                <a16:creationId xmlns:a16="http://schemas.microsoft.com/office/drawing/2014/main" id="{F15E1336-28CA-4736-AD0D-CECA8604823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97342" y="3303180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3" name="Text Placeholder 17">
            <a:extLst>
              <a:ext uri="{FF2B5EF4-FFF2-40B4-BE49-F238E27FC236}">
                <a16:creationId xmlns:a16="http://schemas.microsoft.com/office/drawing/2014/main" id="{A1AF18C4-72BC-4BBC-9015-47CE65935AA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97342" y="5011675"/>
            <a:ext cx="2480864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4" name="Text Placeholder 17">
            <a:extLst>
              <a:ext uri="{FF2B5EF4-FFF2-40B4-BE49-F238E27FC236}">
                <a16:creationId xmlns:a16="http://schemas.microsoft.com/office/drawing/2014/main" id="{17BB1947-DE1C-4905-B40F-5E27442613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3701" y="1892980"/>
            <a:ext cx="361464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05" name="Text Placeholder 17">
            <a:extLst>
              <a:ext uri="{FF2B5EF4-FFF2-40B4-BE49-F238E27FC236}">
                <a16:creationId xmlns:a16="http://schemas.microsoft.com/office/drawing/2014/main" id="{9F6655C7-8E90-44C5-99F1-280EB921EB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83813" y="1892980"/>
            <a:ext cx="36144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5E1274FA-A544-4987-8C3A-F63417EAC7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3701" y="3742545"/>
            <a:ext cx="361464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14" name="Text Placeholder 17">
            <a:extLst>
              <a:ext uri="{FF2B5EF4-FFF2-40B4-BE49-F238E27FC236}">
                <a16:creationId xmlns:a16="http://schemas.microsoft.com/office/drawing/2014/main" id="{14B5BF74-354F-42FC-A8CD-FFAC6FA8E5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91651" y="3742545"/>
            <a:ext cx="360664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4F0B5D2A-62A4-4F37-8F50-0CBE9A36E94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3701" y="5451040"/>
            <a:ext cx="361464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1A88C631-EF5D-4C4E-AEFE-D473CF65EDB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91651" y="5451040"/>
            <a:ext cx="360664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using indexes.</a:t>
            </a: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3ECE9112-11D1-417A-9128-CEBBA61CE84D}"/>
              </a:ext>
            </a:extLst>
          </p:cNvPr>
          <p:cNvSpPr/>
          <p:nvPr userDrawn="1"/>
        </p:nvSpPr>
        <p:spPr>
          <a:xfrm>
            <a:off x="5325066" y="2669447"/>
            <a:ext cx="1582623" cy="1586359"/>
          </a:xfrm>
          <a:custGeom>
            <a:avLst/>
            <a:gdLst>
              <a:gd name="connsiteX0" fmla="*/ 1503673 w 1582623"/>
              <a:gd name="connsiteY0" fmla="*/ 775801 h 1586359"/>
              <a:gd name="connsiteX1" fmla="*/ 1510249 w 1582623"/>
              <a:gd name="connsiteY1" fmla="*/ 779846 h 1586359"/>
              <a:gd name="connsiteX2" fmla="*/ 1503673 w 1582623"/>
              <a:gd name="connsiteY2" fmla="*/ 778222 h 1586359"/>
              <a:gd name="connsiteX3" fmla="*/ 791311 w 1582623"/>
              <a:gd name="connsiteY3" fmla="*/ 478955 h 1586359"/>
              <a:gd name="connsiteX4" fmla="*/ 477087 w 1582623"/>
              <a:gd name="connsiteY4" fmla="*/ 793179 h 1586359"/>
              <a:gd name="connsiteX5" fmla="*/ 791311 w 1582623"/>
              <a:gd name="connsiteY5" fmla="*/ 1107403 h 1586359"/>
              <a:gd name="connsiteX6" fmla="*/ 1105535 w 1582623"/>
              <a:gd name="connsiteY6" fmla="*/ 793179 h 1586359"/>
              <a:gd name="connsiteX7" fmla="*/ 791311 w 1582623"/>
              <a:gd name="connsiteY7" fmla="*/ 478955 h 1586359"/>
              <a:gd name="connsiteX8" fmla="*/ 882177 w 1582623"/>
              <a:gd name="connsiteY8" fmla="*/ 0 h 1586359"/>
              <a:gd name="connsiteX9" fmla="*/ 1116030 w 1582623"/>
              <a:gd name="connsiteY9" fmla="*/ 61920 h 1586359"/>
              <a:gd name="connsiteX10" fmla="*/ 1112679 w 1582623"/>
              <a:gd name="connsiteY10" fmla="*/ 258738 h 1586359"/>
              <a:gd name="connsiteX11" fmla="*/ 1106562 w 1582623"/>
              <a:gd name="connsiteY11" fmla="*/ 257119 h 1586359"/>
              <a:gd name="connsiteX12" fmla="*/ 1239557 w 1582623"/>
              <a:gd name="connsiteY12" fmla="*/ 359134 h 1586359"/>
              <a:gd name="connsiteX13" fmla="*/ 1416871 w 1582623"/>
              <a:gd name="connsiteY13" fmla="*/ 315565 h 1586359"/>
              <a:gd name="connsiteX14" fmla="*/ 1530532 w 1582623"/>
              <a:gd name="connsiteY14" fmla="*/ 526802 h 1586359"/>
              <a:gd name="connsiteX15" fmla="*/ 1404191 w 1582623"/>
              <a:gd name="connsiteY15" fmla="*/ 639358 h 1586359"/>
              <a:gd name="connsiteX16" fmla="*/ 1424813 w 1582623"/>
              <a:gd name="connsiteY16" fmla="*/ 816732 h 1586359"/>
              <a:gd name="connsiteX17" fmla="*/ 1582623 w 1582623"/>
              <a:gd name="connsiteY17" fmla="*/ 903302 h 1586359"/>
              <a:gd name="connsiteX18" fmla="*/ 1519962 w 1582623"/>
              <a:gd name="connsiteY18" fmla="*/ 1134390 h 1586359"/>
              <a:gd name="connsiteX19" fmla="*/ 1328469 w 1582623"/>
              <a:gd name="connsiteY19" fmla="*/ 1131208 h 1586359"/>
              <a:gd name="connsiteX20" fmla="*/ 1242056 w 1582623"/>
              <a:gd name="connsiteY20" fmla="*/ 1239423 h 1586359"/>
              <a:gd name="connsiteX21" fmla="*/ 1304943 w 1582623"/>
              <a:gd name="connsiteY21" fmla="*/ 1401619 h 1586359"/>
              <a:gd name="connsiteX22" fmla="*/ 1106625 w 1582623"/>
              <a:gd name="connsiteY22" fmla="*/ 1538842 h 1586359"/>
              <a:gd name="connsiteX23" fmla="*/ 1027846 w 1582623"/>
              <a:gd name="connsiteY23" fmla="*/ 1471258 h 1586359"/>
              <a:gd name="connsiteX24" fmla="*/ 1027699 w 1582623"/>
              <a:gd name="connsiteY24" fmla="*/ 1471424 h 1586359"/>
              <a:gd name="connsiteX25" fmla="*/ 1010633 w 1582623"/>
              <a:gd name="connsiteY25" fmla="*/ 1456490 h 1586359"/>
              <a:gd name="connsiteX26" fmla="*/ 956201 w 1582623"/>
              <a:gd name="connsiteY26" fmla="*/ 1409793 h 1586359"/>
              <a:gd name="connsiteX27" fmla="*/ 956796 w 1582623"/>
              <a:gd name="connsiteY27" fmla="*/ 1409381 h 1586359"/>
              <a:gd name="connsiteX28" fmla="*/ 950371 w 1582623"/>
              <a:gd name="connsiteY28" fmla="*/ 1403757 h 1586359"/>
              <a:gd name="connsiteX29" fmla="*/ 793841 w 1582623"/>
              <a:gd name="connsiteY29" fmla="*/ 1424070 h 1586359"/>
              <a:gd name="connsiteX30" fmla="*/ 702669 w 1582623"/>
              <a:gd name="connsiteY30" fmla="*/ 1586359 h 1586359"/>
              <a:gd name="connsiteX31" fmla="*/ 468814 w 1582623"/>
              <a:gd name="connsiteY31" fmla="*/ 1524439 h 1586359"/>
              <a:gd name="connsiteX32" fmla="*/ 471975 w 1582623"/>
              <a:gd name="connsiteY32" fmla="*/ 1338848 h 1586359"/>
              <a:gd name="connsiteX33" fmla="*/ 339830 w 1582623"/>
              <a:gd name="connsiteY33" fmla="*/ 1236425 h 1586359"/>
              <a:gd name="connsiteX34" fmla="*/ 342861 w 1582623"/>
              <a:gd name="connsiteY34" fmla="*/ 1242849 h 1586359"/>
              <a:gd name="connsiteX35" fmla="*/ 147296 w 1582623"/>
              <a:gd name="connsiteY35" fmla="*/ 1280286 h 1586359"/>
              <a:gd name="connsiteX36" fmla="*/ 44978 w 1582623"/>
              <a:gd name="connsiteY36" fmla="*/ 1063460 h 1586359"/>
              <a:gd name="connsiteX37" fmla="*/ 177240 w 1582623"/>
              <a:gd name="connsiteY37" fmla="*/ 957488 h 1586359"/>
              <a:gd name="connsiteX38" fmla="*/ 155737 w 1582623"/>
              <a:gd name="connsiteY38" fmla="*/ 798840 h 1586359"/>
              <a:gd name="connsiteX39" fmla="*/ 0 w 1582623"/>
              <a:gd name="connsiteY39" fmla="*/ 713408 h 1586359"/>
              <a:gd name="connsiteX40" fmla="*/ 62661 w 1582623"/>
              <a:gd name="connsiteY40" fmla="*/ 482320 h 1586359"/>
              <a:gd name="connsiteX41" fmla="*/ 241126 w 1582623"/>
              <a:gd name="connsiteY41" fmla="*/ 485286 h 1586359"/>
              <a:gd name="connsiteX42" fmla="*/ 327647 w 1582623"/>
              <a:gd name="connsiteY42" fmla="*/ 370111 h 1586359"/>
              <a:gd name="connsiteX43" fmla="*/ 267874 w 1582623"/>
              <a:gd name="connsiteY43" fmla="*/ 187930 h 1586359"/>
              <a:gd name="connsiteX44" fmla="*/ 473190 w 1582623"/>
              <a:gd name="connsiteY44" fmla="*/ 61152 h 1586359"/>
              <a:gd name="connsiteX45" fmla="*/ 616570 w 1582623"/>
              <a:gd name="connsiteY45" fmla="*/ 197803 h 1586359"/>
              <a:gd name="connsiteX46" fmla="*/ 615128 w 1582623"/>
              <a:gd name="connsiteY46" fmla="*/ 198693 h 1586359"/>
              <a:gd name="connsiteX47" fmla="*/ 791608 w 1582623"/>
              <a:gd name="connsiteY47" fmla="*/ 173725 h 1586359"/>
              <a:gd name="connsiteX48" fmla="*/ 785491 w 1582623"/>
              <a:gd name="connsiteY48" fmla="*/ 172106 h 1586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582623" h="1586359">
                <a:moveTo>
                  <a:pt x="1503673" y="775801"/>
                </a:moveTo>
                <a:lnTo>
                  <a:pt x="1510249" y="779846"/>
                </a:lnTo>
                <a:lnTo>
                  <a:pt x="1503673" y="778222"/>
                </a:lnTo>
                <a:close/>
                <a:moveTo>
                  <a:pt x="791311" y="478955"/>
                </a:moveTo>
                <a:cubicBezTo>
                  <a:pt x="617770" y="478955"/>
                  <a:pt x="477087" y="619638"/>
                  <a:pt x="477087" y="793179"/>
                </a:cubicBezTo>
                <a:cubicBezTo>
                  <a:pt x="477087" y="966720"/>
                  <a:pt x="617770" y="1107403"/>
                  <a:pt x="791311" y="1107403"/>
                </a:cubicBezTo>
                <a:cubicBezTo>
                  <a:pt x="964852" y="1107403"/>
                  <a:pt x="1105535" y="966720"/>
                  <a:pt x="1105535" y="793179"/>
                </a:cubicBezTo>
                <a:cubicBezTo>
                  <a:pt x="1105535" y="619638"/>
                  <a:pt x="964852" y="478955"/>
                  <a:pt x="791311" y="478955"/>
                </a:cubicBezTo>
                <a:close/>
                <a:moveTo>
                  <a:pt x="882177" y="0"/>
                </a:moveTo>
                <a:lnTo>
                  <a:pt x="1116030" y="61920"/>
                </a:lnTo>
                <a:lnTo>
                  <a:pt x="1112679" y="258738"/>
                </a:lnTo>
                <a:lnTo>
                  <a:pt x="1106562" y="257119"/>
                </a:lnTo>
                <a:cubicBezTo>
                  <a:pt x="1156405" y="284837"/>
                  <a:pt x="1201453" y="318827"/>
                  <a:pt x="1239557" y="359134"/>
                </a:cubicBezTo>
                <a:lnTo>
                  <a:pt x="1416871" y="315565"/>
                </a:lnTo>
                <a:lnTo>
                  <a:pt x="1530532" y="526802"/>
                </a:lnTo>
                <a:lnTo>
                  <a:pt x="1404191" y="639358"/>
                </a:lnTo>
                <a:cubicBezTo>
                  <a:pt x="1420028" y="696363"/>
                  <a:pt x="1427493" y="756056"/>
                  <a:pt x="1424813" y="816732"/>
                </a:cubicBezTo>
                <a:lnTo>
                  <a:pt x="1582623" y="903302"/>
                </a:lnTo>
                <a:lnTo>
                  <a:pt x="1519962" y="1134390"/>
                </a:lnTo>
                <a:lnTo>
                  <a:pt x="1328469" y="1131208"/>
                </a:lnTo>
                <a:cubicBezTo>
                  <a:pt x="1304257" y="1171183"/>
                  <a:pt x="1274924" y="1207237"/>
                  <a:pt x="1242056" y="1239423"/>
                </a:cubicBezTo>
                <a:lnTo>
                  <a:pt x="1304943" y="1401619"/>
                </a:lnTo>
                <a:lnTo>
                  <a:pt x="1106625" y="1538842"/>
                </a:lnTo>
                <a:lnTo>
                  <a:pt x="1027846" y="1471258"/>
                </a:lnTo>
                <a:lnTo>
                  <a:pt x="1027699" y="1471424"/>
                </a:lnTo>
                <a:lnTo>
                  <a:pt x="1010633" y="1456490"/>
                </a:lnTo>
                <a:lnTo>
                  <a:pt x="956201" y="1409793"/>
                </a:lnTo>
                <a:lnTo>
                  <a:pt x="956796" y="1409381"/>
                </a:lnTo>
                <a:lnTo>
                  <a:pt x="950371" y="1403757"/>
                </a:lnTo>
                <a:cubicBezTo>
                  <a:pt x="900068" y="1417821"/>
                  <a:pt x="847397" y="1424365"/>
                  <a:pt x="793841" y="1424070"/>
                </a:cubicBezTo>
                <a:lnTo>
                  <a:pt x="702669" y="1586359"/>
                </a:lnTo>
                <a:lnTo>
                  <a:pt x="468814" y="1524439"/>
                </a:lnTo>
                <a:lnTo>
                  <a:pt x="471975" y="1338848"/>
                </a:lnTo>
                <a:cubicBezTo>
                  <a:pt x="422420" y="1310938"/>
                  <a:pt x="377661" y="1276807"/>
                  <a:pt x="339830" y="1236425"/>
                </a:cubicBezTo>
                <a:lnTo>
                  <a:pt x="342861" y="1242849"/>
                </a:lnTo>
                <a:lnTo>
                  <a:pt x="147296" y="1280286"/>
                </a:lnTo>
                <a:lnTo>
                  <a:pt x="44978" y="1063460"/>
                </a:lnTo>
                <a:lnTo>
                  <a:pt x="177240" y="957488"/>
                </a:lnTo>
                <a:cubicBezTo>
                  <a:pt x="163123" y="906357"/>
                  <a:pt x="155747" y="853070"/>
                  <a:pt x="155737" y="798840"/>
                </a:cubicBezTo>
                <a:lnTo>
                  <a:pt x="0" y="713408"/>
                </a:lnTo>
                <a:lnTo>
                  <a:pt x="62661" y="482320"/>
                </a:lnTo>
                <a:lnTo>
                  <a:pt x="241126" y="485286"/>
                </a:lnTo>
                <a:cubicBezTo>
                  <a:pt x="265338" y="443064"/>
                  <a:pt x="294574" y="404569"/>
                  <a:pt x="327647" y="370111"/>
                </a:cubicBezTo>
                <a:lnTo>
                  <a:pt x="267874" y="187930"/>
                </a:lnTo>
                <a:lnTo>
                  <a:pt x="473190" y="61152"/>
                </a:lnTo>
                <a:lnTo>
                  <a:pt x="616570" y="197803"/>
                </a:lnTo>
                <a:lnTo>
                  <a:pt x="615128" y="198693"/>
                </a:lnTo>
                <a:cubicBezTo>
                  <a:pt x="671493" y="181167"/>
                  <a:pt x="731002" y="173067"/>
                  <a:pt x="791608" y="173725"/>
                </a:cubicBezTo>
                <a:lnTo>
                  <a:pt x="785491" y="1721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8" name="Picture 37" descr="darkest-green-horz.png">
            <a:extLst>
              <a:ext uri="{FF2B5EF4-FFF2-40B4-BE49-F238E27FC236}">
                <a16:creationId xmlns:a16="http://schemas.microsoft.com/office/drawing/2014/main" id="{3BB5272C-8C51-4217-BA2A-8352E98B29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062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DB23B654-CDBA-48BA-8D36-CC992215A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4" t="8999" r="41083" b="2615"/>
          <a:stretch/>
        </p:blipFill>
        <p:spPr>
          <a:xfrm>
            <a:off x="5353857" y="0"/>
            <a:ext cx="6838145" cy="6858001"/>
          </a:xfrm>
          <a:custGeom>
            <a:avLst/>
            <a:gdLst>
              <a:gd name="connsiteX0" fmla="*/ 0 w 6838145"/>
              <a:gd name="connsiteY0" fmla="*/ 0 h 6858001"/>
              <a:gd name="connsiteX1" fmla="*/ 6838145 w 6838145"/>
              <a:gd name="connsiteY1" fmla="*/ 0 h 6858001"/>
              <a:gd name="connsiteX2" fmla="*/ 6838145 w 6838145"/>
              <a:gd name="connsiteY2" fmla="*/ 6858001 h 6858001"/>
              <a:gd name="connsiteX3" fmla="*/ 3977639 w 6838145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38145" h="6858001">
                <a:moveTo>
                  <a:pt x="0" y="0"/>
                </a:moveTo>
                <a:lnTo>
                  <a:pt x="6838145" y="0"/>
                </a:lnTo>
                <a:lnTo>
                  <a:pt x="6838145" y="6858001"/>
                </a:lnTo>
                <a:lnTo>
                  <a:pt x="3977639" y="6858001"/>
                </a:lnTo>
                <a:close/>
              </a:path>
            </a:pathLst>
          </a:cu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196543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08629" y="3059668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708629" y="3002464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7995E52-0D03-438A-82DD-B5A349560C1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8629" y="5903458"/>
            <a:ext cx="1905000" cy="657225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9CA6914-D509-4338-AD68-6F7074A7E8A7}"/>
              </a:ext>
            </a:extLst>
          </p:cNvPr>
          <p:cNvSpPr/>
          <p:nvPr userDrawn="1"/>
        </p:nvSpPr>
        <p:spPr>
          <a:xfrm flipV="1">
            <a:off x="5248325" y="696685"/>
            <a:ext cx="5448806" cy="5464628"/>
          </a:xfrm>
          <a:custGeom>
            <a:avLst/>
            <a:gdLst>
              <a:gd name="connsiteX0" fmla="*/ 0 w 6838145"/>
              <a:gd name="connsiteY0" fmla="*/ 6858001 h 6858001"/>
              <a:gd name="connsiteX1" fmla="*/ 6838145 w 6838145"/>
              <a:gd name="connsiteY1" fmla="*/ 6858001 h 6858001"/>
              <a:gd name="connsiteX2" fmla="*/ 6838145 w 6838145"/>
              <a:gd name="connsiteY2" fmla="*/ 0 h 6858001"/>
              <a:gd name="connsiteX3" fmla="*/ 3977639 w 6838145"/>
              <a:gd name="connsiteY3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38145" h="6858001">
                <a:moveTo>
                  <a:pt x="0" y="6858001"/>
                </a:moveTo>
                <a:lnTo>
                  <a:pt x="6838145" y="6858001"/>
                </a:lnTo>
                <a:lnTo>
                  <a:pt x="6838145" y="0"/>
                </a:lnTo>
                <a:lnTo>
                  <a:pt x="3977639" y="0"/>
                </a:lnTo>
                <a:close/>
              </a:path>
            </a:pathLst>
          </a:custGeom>
          <a:solidFill>
            <a:srgbClr val="56A5C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585617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SWOT Analysi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bject 4">
            <a:extLst>
              <a:ext uri="{FF2B5EF4-FFF2-40B4-BE49-F238E27FC236}">
                <a16:creationId xmlns:a16="http://schemas.microsoft.com/office/drawing/2014/main" id="{B848107D-2780-47A3-8375-06BCCAB2BBC3}"/>
              </a:ext>
            </a:extLst>
          </p:cNvPr>
          <p:cNvSpPr/>
          <p:nvPr userDrawn="1"/>
        </p:nvSpPr>
        <p:spPr>
          <a:xfrm>
            <a:off x="8982759" y="3699923"/>
            <a:ext cx="2354580" cy="2171700"/>
          </a:xfrm>
          <a:custGeom>
            <a:avLst/>
            <a:gdLst/>
            <a:ahLst/>
            <a:cxnLst/>
            <a:rect l="l" t="t" r="r" b="b"/>
            <a:pathLst>
              <a:path w="2354579" h="2171700">
                <a:moveTo>
                  <a:pt x="549098" y="0"/>
                </a:moveTo>
                <a:lnTo>
                  <a:pt x="509273" y="26320"/>
                </a:lnTo>
                <a:lnTo>
                  <a:pt x="470475" y="54174"/>
                </a:lnTo>
                <a:lnTo>
                  <a:pt x="432763" y="83551"/>
                </a:lnTo>
                <a:lnTo>
                  <a:pt x="396196" y="114440"/>
                </a:lnTo>
                <a:lnTo>
                  <a:pt x="360834" y="146831"/>
                </a:lnTo>
                <a:lnTo>
                  <a:pt x="326736" y="180711"/>
                </a:lnTo>
                <a:lnTo>
                  <a:pt x="293961" y="216071"/>
                </a:lnTo>
                <a:lnTo>
                  <a:pt x="262569" y="252898"/>
                </a:lnTo>
                <a:lnTo>
                  <a:pt x="232618" y="291183"/>
                </a:lnTo>
                <a:lnTo>
                  <a:pt x="204168" y="330913"/>
                </a:lnTo>
                <a:lnTo>
                  <a:pt x="177278" y="372078"/>
                </a:lnTo>
                <a:lnTo>
                  <a:pt x="152008" y="414668"/>
                </a:lnTo>
                <a:lnTo>
                  <a:pt x="128416" y="458670"/>
                </a:lnTo>
                <a:lnTo>
                  <a:pt x="106562" y="504074"/>
                </a:lnTo>
                <a:lnTo>
                  <a:pt x="86505" y="550869"/>
                </a:lnTo>
                <a:lnTo>
                  <a:pt x="68305" y="599045"/>
                </a:lnTo>
                <a:lnTo>
                  <a:pt x="52020" y="648589"/>
                </a:lnTo>
                <a:lnTo>
                  <a:pt x="38705" y="695079"/>
                </a:lnTo>
                <a:lnTo>
                  <a:pt x="27393" y="741669"/>
                </a:lnTo>
                <a:lnTo>
                  <a:pt x="18060" y="788311"/>
                </a:lnTo>
                <a:lnTo>
                  <a:pt x="10680" y="834958"/>
                </a:lnTo>
                <a:lnTo>
                  <a:pt x="5227" y="881563"/>
                </a:lnTo>
                <a:lnTo>
                  <a:pt x="1675" y="928076"/>
                </a:lnTo>
                <a:lnTo>
                  <a:pt x="0" y="974453"/>
                </a:lnTo>
                <a:lnTo>
                  <a:pt x="175" y="1020643"/>
                </a:lnTo>
                <a:lnTo>
                  <a:pt x="2175" y="1066602"/>
                </a:lnTo>
                <a:lnTo>
                  <a:pt x="5975" y="1112280"/>
                </a:lnTo>
                <a:lnTo>
                  <a:pt x="11548" y="1157630"/>
                </a:lnTo>
                <a:lnTo>
                  <a:pt x="18871" y="1202605"/>
                </a:lnTo>
                <a:lnTo>
                  <a:pt x="27916" y="1247158"/>
                </a:lnTo>
                <a:lnTo>
                  <a:pt x="38659" y="1291240"/>
                </a:lnTo>
                <a:lnTo>
                  <a:pt x="51074" y="1334805"/>
                </a:lnTo>
                <a:lnTo>
                  <a:pt x="65135" y="1377805"/>
                </a:lnTo>
                <a:lnTo>
                  <a:pt x="80817" y="1420192"/>
                </a:lnTo>
                <a:lnTo>
                  <a:pt x="98094" y="1461919"/>
                </a:lnTo>
                <a:lnTo>
                  <a:pt x="116941" y="1502939"/>
                </a:lnTo>
                <a:lnTo>
                  <a:pt x="137332" y="1543203"/>
                </a:lnTo>
                <a:lnTo>
                  <a:pt x="159243" y="1582666"/>
                </a:lnTo>
                <a:lnTo>
                  <a:pt x="182646" y="1621278"/>
                </a:lnTo>
                <a:lnTo>
                  <a:pt x="207517" y="1658993"/>
                </a:lnTo>
                <a:lnTo>
                  <a:pt x="233830" y="1695763"/>
                </a:lnTo>
                <a:lnTo>
                  <a:pt x="261560" y="1731541"/>
                </a:lnTo>
                <a:lnTo>
                  <a:pt x="290681" y="1766278"/>
                </a:lnTo>
                <a:lnTo>
                  <a:pt x="321168" y="1799929"/>
                </a:lnTo>
                <a:lnTo>
                  <a:pt x="352995" y="1832445"/>
                </a:lnTo>
                <a:lnTo>
                  <a:pt x="386136" y="1863778"/>
                </a:lnTo>
                <a:lnTo>
                  <a:pt x="420566" y="1893882"/>
                </a:lnTo>
                <a:lnTo>
                  <a:pt x="456260" y="1922708"/>
                </a:lnTo>
                <a:lnTo>
                  <a:pt x="493192" y="1950210"/>
                </a:lnTo>
                <a:lnTo>
                  <a:pt x="531336" y="1976339"/>
                </a:lnTo>
                <a:lnTo>
                  <a:pt x="570667" y="2001049"/>
                </a:lnTo>
                <a:lnTo>
                  <a:pt x="611159" y="2024292"/>
                </a:lnTo>
                <a:lnTo>
                  <a:pt x="652788" y="2046019"/>
                </a:lnTo>
                <a:lnTo>
                  <a:pt x="695526" y="2066185"/>
                </a:lnTo>
                <a:lnTo>
                  <a:pt x="739350" y="2084742"/>
                </a:lnTo>
                <a:lnTo>
                  <a:pt x="784233" y="2101641"/>
                </a:lnTo>
                <a:lnTo>
                  <a:pt x="830149" y="2116836"/>
                </a:lnTo>
                <a:lnTo>
                  <a:pt x="876965" y="2130587"/>
                </a:lnTo>
                <a:lnTo>
                  <a:pt x="923863" y="2142314"/>
                </a:lnTo>
                <a:lnTo>
                  <a:pt x="970797" y="2152041"/>
                </a:lnTo>
                <a:lnTo>
                  <a:pt x="1017720" y="2159795"/>
                </a:lnTo>
                <a:lnTo>
                  <a:pt x="1064585" y="2165601"/>
                </a:lnTo>
                <a:lnTo>
                  <a:pt x="1111345" y="2169486"/>
                </a:lnTo>
                <a:lnTo>
                  <a:pt x="1157952" y="2171477"/>
                </a:lnTo>
                <a:lnTo>
                  <a:pt x="1204360" y="2171598"/>
                </a:lnTo>
                <a:lnTo>
                  <a:pt x="1250522" y="2169876"/>
                </a:lnTo>
                <a:lnTo>
                  <a:pt x="1296390" y="2166337"/>
                </a:lnTo>
                <a:lnTo>
                  <a:pt x="1341918" y="2161007"/>
                </a:lnTo>
                <a:lnTo>
                  <a:pt x="1387058" y="2153913"/>
                </a:lnTo>
                <a:lnTo>
                  <a:pt x="1431763" y="2145079"/>
                </a:lnTo>
                <a:lnTo>
                  <a:pt x="1475987" y="2134533"/>
                </a:lnTo>
                <a:lnTo>
                  <a:pt x="1519682" y="2122300"/>
                </a:lnTo>
                <a:lnTo>
                  <a:pt x="1562801" y="2108407"/>
                </a:lnTo>
                <a:lnTo>
                  <a:pt x="1605297" y="2092879"/>
                </a:lnTo>
                <a:lnTo>
                  <a:pt x="1647124" y="2075743"/>
                </a:lnTo>
                <a:lnTo>
                  <a:pt x="1688233" y="2057024"/>
                </a:lnTo>
                <a:lnTo>
                  <a:pt x="1728579" y="2036749"/>
                </a:lnTo>
                <a:lnTo>
                  <a:pt x="1768113" y="2014944"/>
                </a:lnTo>
                <a:lnTo>
                  <a:pt x="1806790" y="1991634"/>
                </a:lnTo>
                <a:lnTo>
                  <a:pt x="1844561" y="1966847"/>
                </a:lnTo>
                <a:lnTo>
                  <a:pt x="1881380" y="1940607"/>
                </a:lnTo>
                <a:lnTo>
                  <a:pt x="1917200" y="1912941"/>
                </a:lnTo>
                <a:lnTo>
                  <a:pt x="1951973" y="1883875"/>
                </a:lnTo>
                <a:lnTo>
                  <a:pt x="1985653" y="1853435"/>
                </a:lnTo>
                <a:lnTo>
                  <a:pt x="2018193" y="1821648"/>
                </a:lnTo>
                <a:lnTo>
                  <a:pt x="2049545" y="1788538"/>
                </a:lnTo>
                <a:lnTo>
                  <a:pt x="2079662" y="1754133"/>
                </a:lnTo>
                <a:lnTo>
                  <a:pt x="2108498" y="1718458"/>
                </a:lnTo>
                <a:lnTo>
                  <a:pt x="2136006" y="1681540"/>
                </a:lnTo>
                <a:lnTo>
                  <a:pt x="2162137" y="1643404"/>
                </a:lnTo>
                <a:lnTo>
                  <a:pt x="2186846" y="1604076"/>
                </a:lnTo>
                <a:lnTo>
                  <a:pt x="2210085" y="1563583"/>
                </a:lnTo>
                <a:lnTo>
                  <a:pt x="2231808" y="1521951"/>
                </a:lnTo>
                <a:lnTo>
                  <a:pt x="2251966" y="1479205"/>
                </a:lnTo>
                <a:lnTo>
                  <a:pt x="2270513" y="1435372"/>
                </a:lnTo>
                <a:lnTo>
                  <a:pt x="2287403" y="1390478"/>
                </a:lnTo>
                <a:lnTo>
                  <a:pt x="2302587" y="1344549"/>
                </a:lnTo>
                <a:lnTo>
                  <a:pt x="2316522" y="1295591"/>
                </a:lnTo>
                <a:lnTo>
                  <a:pt x="2328195" y="1246458"/>
                </a:lnTo>
                <a:lnTo>
                  <a:pt x="2337647" y="1197215"/>
                </a:lnTo>
                <a:lnTo>
                  <a:pt x="2344918" y="1147927"/>
                </a:lnTo>
                <a:lnTo>
                  <a:pt x="2350051" y="1098660"/>
                </a:lnTo>
                <a:lnTo>
                  <a:pt x="2353084" y="1049480"/>
                </a:lnTo>
                <a:lnTo>
                  <a:pt x="2354061" y="1000450"/>
                </a:lnTo>
                <a:lnTo>
                  <a:pt x="2353020" y="951637"/>
                </a:lnTo>
                <a:lnTo>
                  <a:pt x="2350004" y="903106"/>
                </a:lnTo>
                <a:lnTo>
                  <a:pt x="2345052" y="854922"/>
                </a:lnTo>
                <a:lnTo>
                  <a:pt x="2338207" y="807151"/>
                </a:lnTo>
                <a:lnTo>
                  <a:pt x="2329509" y="759858"/>
                </a:lnTo>
                <a:lnTo>
                  <a:pt x="2318998" y="713108"/>
                </a:lnTo>
                <a:lnTo>
                  <a:pt x="2306715" y="666966"/>
                </a:lnTo>
                <a:lnTo>
                  <a:pt x="2292703" y="621499"/>
                </a:lnTo>
                <a:lnTo>
                  <a:pt x="2277000" y="576771"/>
                </a:lnTo>
                <a:lnTo>
                  <a:pt x="2259649" y="532847"/>
                </a:lnTo>
                <a:lnTo>
                  <a:pt x="2240690" y="489793"/>
                </a:lnTo>
                <a:lnTo>
                  <a:pt x="2220164" y="447675"/>
                </a:lnTo>
                <a:lnTo>
                  <a:pt x="2176683" y="469766"/>
                </a:lnTo>
                <a:lnTo>
                  <a:pt x="2132379" y="490293"/>
                </a:lnTo>
                <a:lnTo>
                  <a:pt x="2087304" y="509216"/>
                </a:lnTo>
                <a:lnTo>
                  <a:pt x="2041511" y="526495"/>
                </a:lnTo>
                <a:lnTo>
                  <a:pt x="1995051" y="542089"/>
                </a:lnTo>
                <a:lnTo>
                  <a:pt x="1947976" y="555959"/>
                </a:lnTo>
                <a:lnTo>
                  <a:pt x="1900338" y="568064"/>
                </a:lnTo>
                <a:lnTo>
                  <a:pt x="1852189" y="578365"/>
                </a:lnTo>
                <a:lnTo>
                  <a:pt x="1803581" y="586820"/>
                </a:lnTo>
                <a:lnTo>
                  <a:pt x="1754566" y="593391"/>
                </a:lnTo>
                <a:lnTo>
                  <a:pt x="1705196" y="598037"/>
                </a:lnTo>
                <a:lnTo>
                  <a:pt x="1655522" y="600718"/>
                </a:lnTo>
                <a:lnTo>
                  <a:pt x="1605597" y="601393"/>
                </a:lnTo>
                <a:lnTo>
                  <a:pt x="1555472" y="600023"/>
                </a:lnTo>
                <a:lnTo>
                  <a:pt x="1505200" y="596568"/>
                </a:lnTo>
                <a:lnTo>
                  <a:pt x="1454832" y="590987"/>
                </a:lnTo>
                <a:lnTo>
                  <a:pt x="1404420" y="583241"/>
                </a:lnTo>
                <a:lnTo>
                  <a:pt x="1354016" y="573289"/>
                </a:lnTo>
                <a:lnTo>
                  <a:pt x="1303672" y="561091"/>
                </a:lnTo>
                <a:lnTo>
                  <a:pt x="1253440" y="546608"/>
                </a:lnTo>
                <a:lnTo>
                  <a:pt x="1202498" y="529725"/>
                </a:lnTo>
                <a:lnTo>
                  <a:pt x="1152814" y="510950"/>
                </a:lnTo>
                <a:lnTo>
                  <a:pt x="1104411" y="490340"/>
                </a:lnTo>
                <a:lnTo>
                  <a:pt x="1057316" y="467953"/>
                </a:lnTo>
                <a:lnTo>
                  <a:pt x="1011552" y="443845"/>
                </a:lnTo>
                <a:lnTo>
                  <a:pt x="967144" y="418074"/>
                </a:lnTo>
                <a:lnTo>
                  <a:pt x="924118" y="390698"/>
                </a:lnTo>
                <a:lnTo>
                  <a:pt x="882498" y="361774"/>
                </a:lnTo>
                <a:lnTo>
                  <a:pt x="842309" y="331358"/>
                </a:lnTo>
                <a:lnTo>
                  <a:pt x="803576" y="299510"/>
                </a:lnTo>
                <a:lnTo>
                  <a:pt x="766324" y="266285"/>
                </a:lnTo>
                <a:lnTo>
                  <a:pt x="730576" y="231742"/>
                </a:lnTo>
                <a:lnTo>
                  <a:pt x="696360" y="195937"/>
                </a:lnTo>
                <a:lnTo>
                  <a:pt x="663698" y="158928"/>
                </a:lnTo>
                <a:lnTo>
                  <a:pt x="632616" y="120772"/>
                </a:lnTo>
                <a:lnTo>
                  <a:pt x="603139" y="81528"/>
                </a:lnTo>
                <a:lnTo>
                  <a:pt x="575291" y="41251"/>
                </a:lnTo>
                <a:lnTo>
                  <a:pt x="549098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7" name="object 5">
            <a:extLst>
              <a:ext uri="{FF2B5EF4-FFF2-40B4-BE49-F238E27FC236}">
                <a16:creationId xmlns:a16="http://schemas.microsoft.com/office/drawing/2014/main" id="{DA8F7416-C8CD-48F6-A606-724D85D3896D}"/>
              </a:ext>
            </a:extLst>
          </p:cNvPr>
          <p:cNvSpPr/>
          <p:nvPr userDrawn="1"/>
        </p:nvSpPr>
        <p:spPr>
          <a:xfrm>
            <a:off x="7765430" y="1379656"/>
            <a:ext cx="2354580" cy="2175510"/>
          </a:xfrm>
          <a:custGeom>
            <a:avLst/>
            <a:gdLst/>
            <a:ahLst/>
            <a:cxnLst/>
            <a:rect l="l" t="t" r="r" b="b"/>
            <a:pathLst>
              <a:path w="2354579" h="2175510">
                <a:moveTo>
                  <a:pt x="1155948" y="0"/>
                </a:moveTo>
                <a:lnTo>
                  <a:pt x="1109781" y="1476"/>
                </a:lnTo>
                <a:lnTo>
                  <a:pt x="1063897" y="4771"/>
                </a:lnTo>
                <a:lnTo>
                  <a:pt x="1018343" y="9859"/>
                </a:lnTo>
                <a:lnTo>
                  <a:pt x="973168" y="16714"/>
                </a:lnTo>
                <a:lnTo>
                  <a:pt x="928417" y="25309"/>
                </a:lnTo>
                <a:lnTo>
                  <a:pt x="884139" y="35620"/>
                </a:lnTo>
                <a:lnTo>
                  <a:pt x="840381" y="47620"/>
                </a:lnTo>
                <a:lnTo>
                  <a:pt x="797188" y="61284"/>
                </a:lnTo>
                <a:lnTo>
                  <a:pt x="754610" y="76585"/>
                </a:lnTo>
                <a:lnTo>
                  <a:pt x="712693" y="93498"/>
                </a:lnTo>
                <a:lnTo>
                  <a:pt x="671484" y="111998"/>
                </a:lnTo>
                <a:lnTo>
                  <a:pt x="631031" y="132057"/>
                </a:lnTo>
                <a:lnTo>
                  <a:pt x="591381" y="153651"/>
                </a:lnTo>
                <a:lnTo>
                  <a:pt x="552580" y="176754"/>
                </a:lnTo>
                <a:lnTo>
                  <a:pt x="514677" y="201340"/>
                </a:lnTo>
                <a:lnTo>
                  <a:pt x="477717" y="227382"/>
                </a:lnTo>
                <a:lnTo>
                  <a:pt x="441750" y="254856"/>
                </a:lnTo>
                <a:lnTo>
                  <a:pt x="406821" y="283736"/>
                </a:lnTo>
                <a:lnTo>
                  <a:pt x="372978" y="313994"/>
                </a:lnTo>
                <a:lnTo>
                  <a:pt x="340269" y="345607"/>
                </a:lnTo>
                <a:lnTo>
                  <a:pt x="308739" y="378548"/>
                </a:lnTo>
                <a:lnTo>
                  <a:pt x="278438" y="412791"/>
                </a:lnTo>
                <a:lnTo>
                  <a:pt x="249411" y="448310"/>
                </a:lnTo>
                <a:lnTo>
                  <a:pt x="221706" y="485080"/>
                </a:lnTo>
                <a:lnTo>
                  <a:pt x="195370" y="523074"/>
                </a:lnTo>
                <a:lnTo>
                  <a:pt x="170451" y="562267"/>
                </a:lnTo>
                <a:lnTo>
                  <a:pt x="146995" y="602634"/>
                </a:lnTo>
                <a:lnTo>
                  <a:pt x="125051" y="644148"/>
                </a:lnTo>
                <a:lnTo>
                  <a:pt x="104664" y="686783"/>
                </a:lnTo>
                <a:lnTo>
                  <a:pt x="85882" y="730514"/>
                </a:lnTo>
                <a:lnTo>
                  <a:pt x="68753" y="775314"/>
                </a:lnTo>
                <a:lnTo>
                  <a:pt x="53324" y="821159"/>
                </a:lnTo>
                <a:lnTo>
                  <a:pt x="39127" y="870042"/>
                </a:lnTo>
                <a:lnTo>
                  <a:pt x="27191" y="919110"/>
                </a:lnTo>
                <a:lnTo>
                  <a:pt x="17475" y="968300"/>
                </a:lnTo>
                <a:lnTo>
                  <a:pt x="9938" y="1017544"/>
                </a:lnTo>
                <a:lnTo>
                  <a:pt x="4540" y="1066778"/>
                </a:lnTo>
                <a:lnTo>
                  <a:pt x="1241" y="1115937"/>
                </a:lnTo>
                <a:lnTo>
                  <a:pt x="0" y="1164955"/>
                </a:lnTo>
                <a:lnTo>
                  <a:pt x="776" y="1213767"/>
                </a:lnTo>
                <a:lnTo>
                  <a:pt x="3530" y="1262307"/>
                </a:lnTo>
                <a:lnTo>
                  <a:pt x="8220" y="1310511"/>
                </a:lnTo>
                <a:lnTo>
                  <a:pt x="14807" y="1358313"/>
                </a:lnTo>
                <a:lnTo>
                  <a:pt x="23250" y="1405647"/>
                </a:lnTo>
                <a:lnTo>
                  <a:pt x="33509" y="1452449"/>
                </a:lnTo>
                <a:lnTo>
                  <a:pt x="45543" y="1498653"/>
                </a:lnTo>
                <a:lnTo>
                  <a:pt x="59311" y="1544193"/>
                </a:lnTo>
                <a:lnTo>
                  <a:pt x="74773" y="1589005"/>
                </a:lnTo>
                <a:lnTo>
                  <a:pt x="91889" y="1633022"/>
                </a:lnTo>
                <a:lnTo>
                  <a:pt x="110619" y="1676180"/>
                </a:lnTo>
                <a:lnTo>
                  <a:pt x="130921" y="1718414"/>
                </a:lnTo>
                <a:lnTo>
                  <a:pt x="174514" y="1696571"/>
                </a:lnTo>
                <a:lnTo>
                  <a:pt x="218923" y="1676295"/>
                </a:lnTo>
                <a:lnTo>
                  <a:pt x="264096" y="1657624"/>
                </a:lnTo>
                <a:lnTo>
                  <a:pt x="309981" y="1640599"/>
                </a:lnTo>
                <a:lnTo>
                  <a:pt x="356525" y="1625260"/>
                </a:lnTo>
                <a:lnTo>
                  <a:pt x="403675" y="1611647"/>
                </a:lnTo>
                <a:lnTo>
                  <a:pt x="451380" y="1599799"/>
                </a:lnTo>
                <a:lnTo>
                  <a:pt x="499587" y="1589758"/>
                </a:lnTo>
                <a:lnTo>
                  <a:pt x="548243" y="1581563"/>
                </a:lnTo>
                <a:lnTo>
                  <a:pt x="597297" y="1575253"/>
                </a:lnTo>
                <a:lnTo>
                  <a:pt x="646695" y="1570870"/>
                </a:lnTo>
                <a:lnTo>
                  <a:pt x="696386" y="1568453"/>
                </a:lnTo>
                <a:lnTo>
                  <a:pt x="746317" y="1568041"/>
                </a:lnTo>
                <a:lnTo>
                  <a:pt x="796435" y="1569676"/>
                </a:lnTo>
                <a:lnTo>
                  <a:pt x="846689" y="1573396"/>
                </a:lnTo>
                <a:lnTo>
                  <a:pt x="897026" y="1579242"/>
                </a:lnTo>
                <a:lnTo>
                  <a:pt x="947393" y="1587255"/>
                </a:lnTo>
                <a:lnTo>
                  <a:pt x="997738" y="1597473"/>
                </a:lnTo>
                <a:lnTo>
                  <a:pt x="1048009" y="1609938"/>
                </a:lnTo>
                <a:lnTo>
                  <a:pt x="1098153" y="1624688"/>
                </a:lnTo>
                <a:lnTo>
                  <a:pt x="1149005" y="1641842"/>
                </a:lnTo>
                <a:lnTo>
                  <a:pt x="1198591" y="1660882"/>
                </a:lnTo>
                <a:lnTo>
                  <a:pt x="1246887" y="1681749"/>
                </a:lnTo>
                <a:lnTo>
                  <a:pt x="1293866" y="1704387"/>
                </a:lnTo>
                <a:lnTo>
                  <a:pt x="1339506" y="1728739"/>
                </a:lnTo>
                <a:lnTo>
                  <a:pt x="1383781" y="1754746"/>
                </a:lnTo>
                <a:lnTo>
                  <a:pt x="1426667" y="1782351"/>
                </a:lnTo>
                <a:lnTo>
                  <a:pt x="1468139" y="1811498"/>
                </a:lnTo>
                <a:lnTo>
                  <a:pt x="1508173" y="1842128"/>
                </a:lnTo>
                <a:lnTo>
                  <a:pt x="1546744" y="1874185"/>
                </a:lnTo>
                <a:lnTo>
                  <a:pt x="1583827" y="1907611"/>
                </a:lnTo>
                <a:lnTo>
                  <a:pt x="1619399" y="1942348"/>
                </a:lnTo>
                <a:lnTo>
                  <a:pt x="1653434" y="1978340"/>
                </a:lnTo>
                <a:lnTo>
                  <a:pt x="1685908" y="2015529"/>
                </a:lnTo>
                <a:lnTo>
                  <a:pt x="1716796" y="2053857"/>
                </a:lnTo>
                <a:lnTo>
                  <a:pt x="1746074" y="2093268"/>
                </a:lnTo>
                <a:lnTo>
                  <a:pt x="1773717" y="2133703"/>
                </a:lnTo>
                <a:lnTo>
                  <a:pt x="1799701" y="2175106"/>
                </a:lnTo>
                <a:lnTo>
                  <a:pt x="1839645" y="2148985"/>
                </a:lnTo>
                <a:lnTo>
                  <a:pt x="1878574" y="2121324"/>
                </a:lnTo>
                <a:lnTo>
                  <a:pt x="1916430" y="2092135"/>
                </a:lnTo>
                <a:lnTo>
                  <a:pt x="1953152" y="2061428"/>
                </a:lnTo>
                <a:lnTo>
                  <a:pt x="1988680" y="2029214"/>
                </a:lnTo>
                <a:lnTo>
                  <a:pt x="2022956" y="1995504"/>
                </a:lnTo>
                <a:lnTo>
                  <a:pt x="2055919" y="1960309"/>
                </a:lnTo>
                <a:lnTo>
                  <a:pt x="2087509" y="1923639"/>
                </a:lnTo>
                <a:lnTo>
                  <a:pt x="2117667" y="1885506"/>
                </a:lnTo>
                <a:lnTo>
                  <a:pt x="2146333" y="1845920"/>
                </a:lnTo>
                <a:lnTo>
                  <a:pt x="2173448" y="1804893"/>
                </a:lnTo>
                <a:lnTo>
                  <a:pt x="2198951" y="1762434"/>
                </a:lnTo>
                <a:lnTo>
                  <a:pt x="2222784" y="1718555"/>
                </a:lnTo>
                <a:lnTo>
                  <a:pt x="2244885" y="1673268"/>
                </a:lnTo>
                <a:lnTo>
                  <a:pt x="2265196" y="1626581"/>
                </a:lnTo>
                <a:lnTo>
                  <a:pt x="2283657" y="1578508"/>
                </a:lnTo>
                <a:lnTo>
                  <a:pt x="2300208" y="1529057"/>
                </a:lnTo>
                <a:lnTo>
                  <a:pt x="2313762" y="1482638"/>
                </a:lnTo>
                <a:lnTo>
                  <a:pt x="2325313" y="1436108"/>
                </a:lnTo>
                <a:lnTo>
                  <a:pt x="2334887" y="1389516"/>
                </a:lnTo>
                <a:lnTo>
                  <a:pt x="2342509" y="1342909"/>
                </a:lnTo>
                <a:lnTo>
                  <a:pt x="2348204" y="1296335"/>
                </a:lnTo>
                <a:lnTo>
                  <a:pt x="2351998" y="1249841"/>
                </a:lnTo>
                <a:lnTo>
                  <a:pt x="2353915" y="1203476"/>
                </a:lnTo>
                <a:lnTo>
                  <a:pt x="2353981" y="1157285"/>
                </a:lnTo>
                <a:lnTo>
                  <a:pt x="2352221" y="1111318"/>
                </a:lnTo>
                <a:lnTo>
                  <a:pt x="2348661" y="1065622"/>
                </a:lnTo>
                <a:lnTo>
                  <a:pt x="2343325" y="1020244"/>
                </a:lnTo>
                <a:lnTo>
                  <a:pt x="2336239" y="975233"/>
                </a:lnTo>
                <a:lnTo>
                  <a:pt x="2327428" y="930634"/>
                </a:lnTo>
                <a:lnTo>
                  <a:pt x="2316918" y="886497"/>
                </a:lnTo>
                <a:lnTo>
                  <a:pt x="2304733" y="842869"/>
                </a:lnTo>
                <a:lnTo>
                  <a:pt x="2290899" y="799797"/>
                </a:lnTo>
                <a:lnTo>
                  <a:pt x="2275442" y="757329"/>
                </a:lnTo>
                <a:lnTo>
                  <a:pt x="2258386" y="715512"/>
                </a:lnTo>
                <a:lnTo>
                  <a:pt x="2239756" y="674395"/>
                </a:lnTo>
                <a:lnTo>
                  <a:pt x="2219579" y="634025"/>
                </a:lnTo>
                <a:lnTo>
                  <a:pt x="2197879" y="594449"/>
                </a:lnTo>
                <a:lnTo>
                  <a:pt x="2174681" y="555715"/>
                </a:lnTo>
                <a:lnTo>
                  <a:pt x="2150011" y="517870"/>
                </a:lnTo>
                <a:lnTo>
                  <a:pt x="2123893" y="480963"/>
                </a:lnTo>
                <a:lnTo>
                  <a:pt x="2096354" y="445040"/>
                </a:lnTo>
                <a:lnTo>
                  <a:pt x="2067419" y="410150"/>
                </a:lnTo>
                <a:lnTo>
                  <a:pt x="2037112" y="376340"/>
                </a:lnTo>
                <a:lnTo>
                  <a:pt x="2005459" y="343657"/>
                </a:lnTo>
                <a:lnTo>
                  <a:pt x="1972486" y="312150"/>
                </a:lnTo>
                <a:lnTo>
                  <a:pt x="1938216" y="281866"/>
                </a:lnTo>
                <a:lnTo>
                  <a:pt x="1902677" y="252851"/>
                </a:lnTo>
                <a:lnTo>
                  <a:pt x="1865892" y="225155"/>
                </a:lnTo>
                <a:lnTo>
                  <a:pt x="1827888" y="198825"/>
                </a:lnTo>
                <a:lnTo>
                  <a:pt x="1788689" y="173907"/>
                </a:lnTo>
                <a:lnTo>
                  <a:pt x="1748321" y="150451"/>
                </a:lnTo>
                <a:lnTo>
                  <a:pt x="1706809" y="128503"/>
                </a:lnTo>
                <a:lnTo>
                  <a:pt x="1664179" y="108111"/>
                </a:lnTo>
                <a:lnTo>
                  <a:pt x="1620454" y="89322"/>
                </a:lnTo>
                <a:lnTo>
                  <a:pt x="1575662" y="72185"/>
                </a:lnTo>
                <a:lnTo>
                  <a:pt x="1529826" y="56746"/>
                </a:lnTo>
                <a:lnTo>
                  <a:pt x="1483091" y="42746"/>
                </a:lnTo>
                <a:lnTo>
                  <a:pt x="1436261" y="30771"/>
                </a:lnTo>
                <a:lnTo>
                  <a:pt x="1389385" y="20796"/>
                </a:lnTo>
                <a:lnTo>
                  <a:pt x="1342508" y="12793"/>
                </a:lnTo>
                <a:lnTo>
                  <a:pt x="1295679" y="6738"/>
                </a:lnTo>
                <a:lnTo>
                  <a:pt x="1248945" y="2605"/>
                </a:lnTo>
                <a:lnTo>
                  <a:pt x="1202352" y="367"/>
                </a:lnTo>
                <a:lnTo>
                  <a:pt x="1155948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object 6">
            <a:extLst>
              <a:ext uri="{FF2B5EF4-FFF2-40B4-BE49-F238E27FC236}">
                <a16:creationId xmlns:a16="http://schemas.microsoft.com/office/drawing/2014/main" id="{CB171930-A66A-464C-84FB-51C1CD401BEC}"/>
              </a:ext>
            </a:extLst>
          </p:cNvPr>
          <p:cNvSpPr/>
          <p:nvPr userDrawn="1"/>
        </p:nvSpPr>
        <p:spPr>
          <a:xfrm>
            <a:off x="9622155" y="1835945"/>
            <a:ext cx="2176145" cy="2354580"/>
          </a:xfrm>
          <a:custGeom>
            <a:avLst/>
            <a:gdLst/>
            <a:ahLst/>
            <a:cxnLst/>
            <a:rect l="l" t="t" r="r" b="b"/>
            <a:pathLst>
              <a:path w="2176145" h="2354579">
                <a:moveTo>
                  <a:pt x="1011978" y="0"/>
                </a:moveTo>
                <a:lnTo>
                  <a:pt x="963161" y="705"/>
                </a:lnTo>
                <a:lnTo>
                  <a:pt x="914613" y="3389"/>
                </a:lnTo>
                <a:lnTo>
                  <a:pt x="866399" y="8009"/>
                </a:lnTo>
                <a:lnTo>
                  <a:pt x="818585" y="14526"/>
                </a:lnTo>
                <a:lnTo>
                  <a:pt x="771237" y="22898"/>
                </a:lnTo>
                <a:lnTo>
                  <a:pt x="724420" y="33086"/>
                </a:lnTo>
                <a:lnTo>
                  <a:pt x="678200" y="45047"/>
                </a:lnTo>
                <a:lnTo>
                  <a:pt x="632642" y="58742"/>
                </a:lnTo>
                <a:lnTo>
                  <a:pt x="587811" y="74131"/>
                </a:lnTo>
                <a:lnTo>
                  <a:pt x="543774" y="91171"/>
                </a:lnTo>
                <a:lnTo>
                  <a:pt x="500596" y="109823"/>
                </a:lnTo>
                <a:lnTo>
                  <a:pt x="458343" y="130047"/>
                </a:lnTo>
                <a:lnTo>
                  <a:pt x="480146" y="173677"/>
                </a:lnTo>
                <a:lnTo>
                  <a:pt x="500382" y="218121"/>
                </a:lnTo>
                <a:lnTo>
                  <a:pt x="519011" y="263327"/>
                </a:lnTo>
                <a:lnTo>
                  <a:pt x="535991" y="309243"/>
                </a:lnTo>
                <a:lnTo>
                  <a:pt x="551285" y="355815"/>
                </a:lnTo>
                <a:lnTo>
                  <a:pt x="564851" y="402992"/>
                </a:lnTo>
                <a:lnTo>
                  <a:pt x="576649" y="450720"/>
                </a:lnTo>
                <a:lnTo>
                  <a:pt x="586641" y="498948"/>
                </a:lnTo>
                <a:lnTo>
                  <a:pt x="594785" y="547623"/>
                </a:lnTo>
                <a:lnTo>
                  <a:pt x="601043" y="596692"/>
                </a:lnTo>
                <a:lnTo>
                  <a:pt x="605373" y="646103"/>
                </a:lnTo>
                <a:lnTo>
                  <a:pt x="607737" y="695804"/>
                </a:lnTo>
                <a:lnTo>
                  <a:pt x="608094" y="745742"/>
                </a:lnTo>
                <a:lnTo>
                  <a:pt x="606405" y="795864"/>
                </a:lnTo>
                <a:lnTo>
                  <a:pt x="602628" y="846118"/>
                </a:lnTo>
                <a:lnTo>
                  <a:pt x="596726" y="896452"/>
                </a:lnTo>
                <a:lnTo>
                  <a:pt x="588657" y="946813"/>
                </a:lnTo>
                <a:lnTo>
                  <a:pt x="578382" y="997148"/>
                </a:lnTo>
                <a:lnTo>
                  <a:pt x="565860" y="1047405"/>
                </a:lnTo>
                <a:lnTo>
                  <a:pt x="551052" y="1097533"/>
                </a:lnTo>
                <a:lnTo>
                  <a:pt x="533836" y="1148361"/>
                </a:lnTo>
                <a:lnTo>
                  <a:pt x="514737" y="1197920"/>
                </a:lnTo>
                <a:lnTo>
                  <a:pt x="493812" y="1246183"/>
                </a:lnTo>
                <a:lnTo>
                  <a:pt x="471120" y="1293126"/>
                </a:lnTo>
                <a:lnTo>
                  <a:pt x="446717" y="1338726"/>
                </a:lnTo>
                <a:lnTo>
                  <a:pt x="420661" y="1382958"/>
                </a:lnTo>
                <a:lnTo>
                  <a:pt x="393010" y="1425798"/>
                </a:lnTo>
                <a:lnTo>
                  <a:pt x="363821" y="1467221"/>
                </a:lnTo>
                <a:lnTo>
                  <a:pt x="333152" y="1507203"/>
                </a:lnTo>
                <a:lnTo>
                  <a:pt x="301060" y="1545720"/>
                </a:lnTo>
                <a:lnTo>
                  <a:pt x="267603" y="1582747"/>
                </a:lnTo>
                <a:lnTo>
                  <a:pt x="232838" y="1618261"/>
                </a:lnTo>
                <a:lnTo>
                  <a:pt x="196822" y="1652236"/>
                </a:lnTo>
                <a:lnTo>
                  <a:pt x="159613" y="1684649"/>
                </a:lnTo>
                <a:lnTo>
                  <a:pt x="121269" y="1715476"/>
                </a:lnTo>
                <a:lnTo>
                  <a:pt x="81847" y="1744691"/>
                </a:lnTo>
                <a:lnTo>
                  <a:pt x="41405" y="1772271"/>
                </a:lnTo>
                <a:lnTo>
                  <a:pt x="0" y="1798192"/>
                </a:lnTo>
                <a:lnTo>
                  <a:pt x="26055" y="1838181"/>
                </a:lnTo>
                <a:lnTo>
                  <a:pt x="53652" y="1877159"/>
                </a:lnTo>
                <a:lnTo>
                  <a:pt x="82781" y="1915066"/>
                </a:lnTo>
                <a:lnTo>
                  <a:pt x="113431" y="1951841"/>
                </a:lnTo>
                <a:lnTo>
                  <a:pt x="145591" y="1987425"/>
                </a:lnTo>
                <a:lnTo>
                  <a:pt x="179251" y="2021757"/>
                </a:lnTo>
                <a:lnTo>
                  <a:pt x="214400" y="2054779"/>
                </a:lnTo>
                <a:lnTo>
                  <a:pt x="251026" y="2086429"/>
                </a:lnTo>
                <a:lnTo>
                  <a:pt x="289120" y="2116649"/>
                </a:lnTo>
                <a:lnTo>
                  <a:pt x="328671" y="2145378"/>
                </a:lnTo>
                <a:lnTo>
                  <a:pt x="369667" y="2172557"/>
                </a:lnTo>
                <a:lnTo>
                  <a:pt x="412099" y="2198125"/>
                </a:lnTo>
                <a:lnTo>
                  <a:pt x="455956" y="2222023"/>
                </a:lnTo>
                <a:lnTo>
                  <a:pt x="501226" y="2244191"/>
                </a:lnTo>
                <a:lnTo>
                  <a:pt x="547900" y="2264568"/>
                </a:lnTo>
                <a:lnTo>
                  <a:pt x="595966" y="2283096"/>
                </a:lnTo>
                <a:lnTo>
                  <a:pt x="645414" y="2299715"/>
                </a:lnTo>
                <a:lnTo>
                  <a:pt x="691806" y="2313345"/>
                </a:lnTo>
                <a:lnTo>
                  <a:pt x="738311" y="2324972"/>
                </a:lnTo>
                <a:lnTo>
                  <a:pt x="784882" y="2334622"/>
                </a:lnTo>
                <a:lnTo>
                  <a:pt x="831470" y="2342320"/>
                </a:lnTo>
                <a:lnTo>
                  <a:pt x="878027" y="2348091"/>
                </a:lnTo>
                <a:lnTo>
                  <a:pt x="924508" y="2351959"/>
                </a:lnTo>
                <a:lnTo>
                  <a:pt x="970862" y="2353951"/>
                </a:lnTo>
                <a:lnTo>
                  <a:pt x="1017044" y="2354092"/>
                </a:lnTo>
                <a:lnTo>
                  <a:pt x="1063005" y="2352406"/>
                </a:lnTo>
                <a:lnTo>
                  <a:pt x="1108698" y="2348919"/>
                </a:lnTo>
                <a:lnTo>
                  <a:pt x="1154074" y="2343656"/>
                </a:lnTo>
                <a:lnTo>
                  <a:pt x="1199087" y="2336643"/>
                </a:lnTo>
                <a:lnTo>
                  <a:pt x="1243689" y="2327903"/>
                </a:lnTo>
                <a:lnTo>
                  <a:pt x="1287832" y="2317464"/>
                </a:lnTo>
                <a:lnTo>
                  <a:pt x="1331468" y="2305349"/>
                </a:lnTo>
                <a:lnTo>
                  <a:pt x="1374550" y="2291585"/>
                </a:lnTo>
                <a:lnTo>
                  <a:pt x="1417030" y="2276195"/>
                </a:lnTo>
                <a:lnTo>
                  <a:pt x="1458861" y="2259206"/>
                </a:lnTo>
                <a:lnTo>
                  <a:pt x="1499994" y="2240643"/>
                </a:lnTo>
                <a:lnTo>
                  <a:pt x="1540383" y="2220530"/>
                </a:lnTo>
                <a:lnTo>
                  <a:pt x="1579979" y="2198893"/>
                </a:lnTo>
                <a:lnTo>
                  <a:pt x="1618734" y="2175758"/>
                </a:lnTo>
                <a:lnTo>
                  <a:pt x="1656603" y="2151149"/>
                </a:lnTo>
                <a:lnTo>
                  <a:pt x="1693535" y="2125092"/>
                </a:lnTo>
                <a:lnTo>
                  <a:pt x="1729485" y="2097611"/>
                </a:lnTo>
                <a:lnTo>
                  <a:pt x="1764404" y="2068732"/>
                </a:lnTo>
                <a:lnTo>
                  <a:pt x="1798244" y="2038481"/>
                </a:lnTo>
                <a:lnTo>
                  <a:pt x="1830959" y="2006881"/>
                </a:lnTo>
                <a:lnTo>
                  <a:pt x="1862500" y="1973960"/>
                </a:lnTo>
                <a:lnTo>
                  <a:pt x="1892819" y="1939741"/>
                </a:lnTo>
                <a:lnTo>
                  <a:pt x="1921870" y="1904250"/>
                </a:lnTo>
                <a:lnTo>
                  <a:pt x="1949604" y="1867512"/>
                </a:lnTo>
                <a:lnTo>
                  <a:pt x="1975974" y="1829553"/>
                </a:lnTo>
                <a:lnTo>
                  <a:pt x="2000931" y="1790397"/>
                </a:lnTo>
                <a:lnTo>
                  <a:pt x="2024430" y="1750069"/>
                </a:lnTo>
                <a:lnTo>
                  <a:pt x="2046421" y="1708596"/>
                </a:lnTo>
                <a:lnTo>
                  <a:pt x="2066857" y="1666002"/>
                </a:lnTo>
                <a:lnTo>
                  <a:pt x="2085690" y="1622312"/>
                </a:lnTo>
                <a:lnTo>
                  <a:pt x="2102874" y="1577551"/>
                </a:lnTo>
                <a:lnTo>
                  <a:pt x="2118359" y="1531746"/>
                </a:lnTo>
                <a:lnTo>
                  <a:pt x="2132417" y="1485018"/>
                </a:lnTo>
                <a:lnTo>
                  <a:pt x="2144449" y="1438194"/>
                </a:lnTo>
                <a:lnTo>
                  <a:pt x="2154481" y="1391320"/>
                </a:lnTo>
                <a:lnTo>
                  <a:pt x="2162541" y="1344443"/>
                </a:lnTo>
                <a:lnTo>
                  <a:pt x="2168652" y="1297611"/>
                </a:lnTo>
                <a:lnTo>
                  <a:pt x="2172842" y="1250871"/>
                </a:lnTo>
                <a:lnTo>
                  <a:pt x="2175136" y="1204271"/>
                </a:lnTo>
                <a:lnTo>
                  <a:pt x="2175559" y="1157857"/>
                </a:lnTo>
                <a:lnTo>
                  <a:pt x="2174138" y="1111676"/>
                </a:lnTo>
                <a:lnTo>
                  <a:pt x="2170898" y="1065777"/>
                </a:lnTo>
                <a:lnTo>
                  <a:pt x="2165865" y="1020205"/>
                </a:lnTo>
                <a:lnTo>
                  <a:pt x="2159064" y="975010"/>
                </a:lnTo>
                <a:lnTo>
                  <a:pt x="2150522" y="930237"/>
                </a:lnTo>
                <a:lnTo>
                  <a:pt x="2140264" y="885934"/>
                </a:lnTo>
                <a:lnTo>
                  <a:pt x="2128316" y="842148"/>
                </a:lnTo>
                <a:lnTo>
                  <a:pt x="2114704" y="798927"/>
                </a:lnTo>
                <a:lnTo>
                  <a:pt x="2099453" y="756318"/>
                </a:lnTo>
                <a:lnTo>
                  <a:pt x="2082590" y="714368"/>
                </a:lnTo>
                <a:lnTo>
                  <a:pt x="2064140" y="673124"/>
                </a:lnTo>
                <a:lnTo>
                  <a:pt x="2044128" y="632633"/>
                </a:lnTo>
                <a:lnTo>
                  <a:pt x="2022581" y="592944"/>
                </a:lnTo>
                <a:lnTo>
                  <a:pt x="1999524" y="554102"/>
                </a:lnTo>
                <a:lnTo>
                  <a:pt x="1974984" y="516156"/>
                </a:lnTo>
                <a:lnTo>
                  <a:pt x="1948985" y="479152"/>
                </a:lnTo>
                <a:lnTo>
                  <a:pt x="1921554" y="443138"/>
                </a:lnTo>
                <a:lnTo>
                  <a:pt x="1892717" y="408162"/>
                </a:lnTo>
                <a:lnTo>
                  <a:pt x="1862498" y="374269"/>
                </a:lnTo>
                <a:lnTo>
                  <a:pt x="1830924" y="341509"/>
                </a:lnTo>
                <a:lnTo>
                  <a:pt x="1798022" y="309927"/>
                </a:lnTo>
                <a:lnTo>
                  <a:pt x="1763815" y="279571"/>
                </a:lnTo>
                <a:lnTo>
                  <a:pt x="1728331" y="250489"/>
                </a:lnTo>
                <a:lnTo>
                  <a:pt x="1691595" y="222727"/>
                </a:lnTo>
                <a:lnTo>
                  <a:pt x="1653632" y="196333"/>
                </a:lnTo>
                <a:lnTo>
                  <a:pt x="1614469" y="171355"/>
                </a:lnTo>
                <a:lnTo>
                  <a:pt x="1574132" y="147838"/>
                </a:lnTo>
                <a:lnTo>
                  <a:pt x="1532645" y="125832"/>
                </a:lnTo>
                <a:lnTo>
                  <a:pt x="1490035" y="105382"/>
                </a:lnTo>
                <a:lnTo>
                  <a:pt x="1446328" y="86536"/>
                </a:lnTo>
                <a:lnTo>
                  <a:pt x="1401549" y="69342"/>
                </a:lnTo>
                <a:lnTo>
                  <a:pt x="1355725" y="53847"/>
                </a:lnTo>
                <a:lnTo>
                  <a:pt x="1306860" y="39571"/>
                </a:lnTo>
                <a:lnTo>
                  <a:pt x="1257805" y="27557"/>
                </a:lnTo>
                <a:lnTo>
                  <a:pt x="1208626" y="17765"/>
                </a:lnTo>
                <a:lnTo>
                  <a:pt x="1159389" y="10154"/>
                </a:lnTo>
                <a:lnTo>
                  <a:pt x="1110158" y="4683"/>
                </a:lnTo>
                <a:lnTo>
                  <a:pt x="1060999" y="1312"/>
                </a:lnTo>
                <a:lnTo>
                  <a:pt x="1011978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9" name="object 7">
            <a:extLst>
              <a:ext uri="{FF2B5EF4-FFF2-40B4-BE49-F238E27FC236}">
                <a16:creationId xmlns:a16="http://schemas.microsoft.com/office/drawing/2014/main" id="{A21E9E25-E53A-409F-9394-D6800A823575}"/>
              </a:ext>
            </a:extLst>
          </p:cNvPr>
          <p:cNvSpPr/>
          <p:nvPr userDrawn="1"/>
        </p:nvSpPr>
        <p:spPr>
          <a:xfrm>
            <a:off x="7306314" y="3072974"/>
            <a:ext cx="2171065" cy="2354580"/>
          </a:xfrm>
          <a:custGeom>
            <a:avLst/>
            <a:gdLst/>
            <a:ahLst/>
            <a:cxnLst/>
            <a:rect l="l" t="t" r="r" b="b"/>
            <a:pathLst>
              <a:path w="2171065" h="2354579">
                <a:moveTo>
                  <a:pt x="1196375" y="0"/>
                </a:moveTo>
                <a:lnTo>
                  <a:pt x="1150191" y="175"/>
                </a:lnTo>
                <a:lnTo>
                  <a:pt x="1104240" y="2175"/>
                </a:lnTo>
                <a:lnTo>
                  <a:pt x="1058570" y="5975"/>
                </a:lnTo>
                <a:lnTo>
                  <a:pt x="1013229" y="11548"/>
                </a:lnTo>
                <a:lnTo>
                  <a:pt x="968264" y="18871"/>
                </a:lnTo>
                <a:lnTo>
                  <a:pt x="923722" y="27916"/>
                </a:lnTo>
                <a:lnTo>
                  <a:pt x="879651" y="38659"/>
                </a:lnTo>
                <a:lnTo>
                  <a:pt x="836098" y="51074"/>
                </a:lnTo>
                <a:lnTo>
                  <a:pt x="793111" y="65135"/>
                </a:lnTo>
                <a:lnTo>
                  <a:pt x="750738" y="80817"/>
                </a:lnTo>
                <a:lnTo>
                  <a:pt x="709025" y="98094"/>
                </a:lnTo>
                <a:lnTo>
                  <a:pt x="668021" y="116941"/>
                </a:lnTo>
                <a:lnTo>
                  <a:pt x="627772" y="137332"/>
                </a:lnTo>
                <a:lnTo>
                  <a:pt x="588327" y="159243"/>
                </a:lnTo>
                <a:lnTo>
                  <a:pt x="549732" y="182646"/>
                </a:lnTo>
                <a:lnTo>
                  <a:pt x="512035" y="207517"/>
                </a:lnTo>
                <a:lnTo>
                  <a:pt x="475284" y="233830"/>
                </a:lnTo>
                <a:lnTo>
                  <a:pt x="439526" y="261560"/>
                </a:lnTo>
                <a:lnTo>
                  <a:pt x="404809" y="290681"/>
                </a:lnTo>
                <a:lnTo>
                  <a:pt x="371179" y="321168"/>
                </a:lnTo>
                <a:lnTo>
                  <a:pt x="338686" y="352995"/>
                </a:lnTo>
                <a:lnTo>
                  <a:pt x="307375" y="386136"/>
                </a:lnTo>
                <a:lnTo>
                  <a:pt x="277294" y="420566"/>
                </a:lnTo>
                <a:lnTo>
                  <a:pt x="248491" y="456260"/>
                </a:lnTo>
                <a:lnTo>
                  <a:pt x="221014" y="493192"/>
                </a:lnTo>
                <a:lnTo>
                  <a:pt x="194910" y="531336"/>
                </a:lnTo>
                <a:lnTo>
                  <a:pt x="170225" y="570667"/>
                </a:lnTo>
                <a:lnTo>
                  <a:pt x="147009" y="611159"/>
                </a:lnTo>
                <a:lnTo>
                  <a:pt x="125308" y="652788"/>
                </a:lnTo>
                <a:lnTo>
                  <a:pt x="105170" y="695526"/>
                </a:lnTo>
                <a:lnTo>
                  <a:pt x="86641" y="739350"/>
                </a:lnTo>
                <a:lnTo>
                  <a:pt x="69771" y="784233"/>
                </a:lnTo>
                <a:lnTo>
                  <a:pt x="54605" y="830149"/>
                </a:lnTo>
                <a:lnTo>
                  <a:pt x="40873" y="876974"/>
                </a:lnTo>
                <a:lnTo>
                  <a:pt x="29166" y="923881"/>
                </a:lnTo>
                <a:lnTo>
                  <a:pt x="19458" y="970824"/>
                </a:lnTo>
                <a:lnTo>
                  <a:pt x="11724" y="1017755"/>
                </a:lnTo>
                <a:lnTo>
                  <a:pt x="5937" y="1064627"/>
                </a:lnTo>
                <a:lnTo>
                  <a:pt x="2071" y="1111394"/>
                </a:lnTo>
                <a:lnTo>
                  <a:pt x="101" y="1158008"/>
                </a:lnTo>
                <a:lnTo>
                  <a:pt x="0" y="1204422"/>
                </a:lnTo>
                <a:lnTo>
                  <a:pt x="1741" y="1250590"/>
                </a:lnTo>
                <a:lnTo>
                  <a:pt x="5300" y="1296463"/>
                </a:lnTo>
                <a:lnTo>
                  <a:pt x="10649" y="1341996"/>
                </a:lnTo>
                <a:lnTo>
                  <a:pt x="17763" y="1387141"/>
                </a:lnTo>
                <a:lnTo>
                  <a:pt x="26616" y="1431851"/>
                </a:lnTo>
                <a:lnTo>
                  <a:pt x="37181" y="1476079"/>
                </a:lnTo>
                <a:lnTo>
                  <a:pt x="49433" y="1519778"/>
                </a:lnTo>
                <a:lnTo>
                  <a:pt x="63345" y="1562901"/>
                </a:lnTo>
                <a:lnTo>
                  <a:pt x="78892" y="1605400"/>
                </a:lnTo>
                <a:lnTo>
                  <a:pt x="96046" y="1647230"/>
                </a:lnTo>
                <a:lnTo>
                  <a:pt x="114783" y="1688342"/>
                </a:lnTo>
                <a:lnTo>
                  <a:pt x="135076" y="1728690"/>
                </a:lnTo>
                <a:lnTo>
                  <a:pt x="156899" y="1768227"/>
                </a:lnTo>
                <a:lnTo>
                  <a:pt x="180225" y="1806905"/>
                </a:lnTo>
                <a:lnTo>
                  <a:pt x="205030" y="1844678"/>
                </a:lnTo>
                <a:lnTo>
                  <a:pt x="231286" y="1881499"/>
                </a:lnTo>
                <a:lnTo>
                  <a:pt x="258968" y="1917320"/>
                </a:lnTo>
                <a:lnTo>
                  <a:pt x="288049" y="1952095"/>
                </a:lnTo>
                <a:lnTo>
                  <a:pt x="318503" y="1985776"/>
                </a:lnTo>
                <a:lnTo>
                  <a:pt x="350306" y="2018316"/>
                </a:lnTo>
                <a:lnTo>
                  <a:pt x="383429" y="2049669"/>
                </a:lnTo>
                <a:lnTo>
                  <a:pt x="417847" y="2079787"/>
                </a:lnTo>
                <a:lnTo>
                  <a:pt x="453535" y="2108624"/>
                </a:lnTo>
                <a:lnTo>
                  <a:pt x="490465" y="2136132"/>
                </a:lnTo>
                <a:lnTo>
                  <a:pt x="528613" y="2162264"/>
                </a:lnTo>
                <a:lnTo>
                  <a:pt x="567951" y="2186973"/>
                </a:lnTo>
                <a:lnTo>
                  <a:pt x="608454" y="2210212"/>
                </a:lnTo>
                <a:lnTo>
                  <a:pt x="650096" y="2231935"/>
                </a:lnTo>
                <a:lnTo>
                  <a:pt x="692850" y="2252093"/>
                </a:lnTo>
                <a:lnTo>
                  <a:pt x="736691" y="2270640"/>
                </a:lnTo>
                <a:lnTo>
                  <a:pt x="781592" y="2287530"/>
                </a:lnTo>
                <a:lnTo>
                  <a:pt x="827527" y="2302714"/>
                </a:lnTo>
                <a:lnTo>
                  <a:pt x="876485" y="2316655"/>
                </a:lnTo>
                <a:lnTo>
                  <a:pt x="925618" y="2328332"/>
                </a:lnTo>
                <a:lnTo>
                  <a:pt x="974860" y="2337787"/>
                </a:lnTo>
                <a:lnTo>
                  <a:pt x="1024147" y="2345062"/>
                </a:lnTo>
                <a:lnTo>
                  <a:pt x="1073413" y="2350196"/>
                </a:lnTo>
                <a:lnTo>
                  <a:pt x="1122592" y="2353231"/>
                </a:lnTo>
                <a:lnTo>
                  <a:pt x="1171620" y="2354208"/>
                </a:lnTo>
                <a:lnTo>
                  <a:pt x="1220430" y="2353167"/>
                </a:lnTo>
                <a:lnTo>
                  <a:pt x="1268957" y="2350150"/>
                </a:lnTo>
                <a:lnTo>
                  <a:pt x="1317135" y="2345198"/>
                </a:lnTo>
                <a:lnTo>
                  <a:pt x="1364900" y="2338351"/>
                </a:lnTo>
                <a:lnTo>
                  <a:pt x="1412186" y="2329651"/>
                </a:lnTo>
                <a:lnTo>
                  <a:pt x="1458927" y="2319138"/>
                </a:lnTo>
                <a:lnTo>
                  <a:pt x="1505059" y="2306854"/>
                </a:lnTo>
                <a:lnTo>
                  <a:pt x="1550515" y="2292839"/>
                </a:lnTo>
                <a:lnTo>
                  <a:pt x="1595229" y="2277134"/>
                </a:lnTo>
                <a:lnTo>
                  <a:pt x="1639138" y="2259781"/>
                </a:lnTo>
                <a:lnTo>
                  <a:pt x="1682175" y="2240819"/>
                </a:lnTo>
                <a:lnTo>
                  <a:pt x="1724274" y="2220291"/>
                </a:lnTo>
                <a:lnTo>
                  <a:pt x="1702181" y="2176809"/>
                </a:lnTo>
                <a:lnTo>
                  <a:pt x="1681649" y="2132502"/>
                </a:lnTo>
                <a:lnTo>
                  <a:pt x="1662717" y="2087424"/>
                </a:lnTo>
                <a:lnTo>
                  <a:pt x="1645426" y="2041625"/>
                </a:lnTo>
                <a:lnTo>
                  <a:pt x="1629816" y="1995160"/>
                </a:lnTo>
                <a:lnTo>
                  <a:pt x="1615928" y="1948079"/>
                </a:lnTo>
                <a:lnTo>
                  <a:pt x="1603802" y="1900435"/>
                </a:lnTo>
                <a:lnTo>
                  <a:pt x="1593479" y="1852280"/>
                </a:lnTo>
                <a:lnTo>
                  <a:pt x="1584997" y="1803666"/>
                </a:lnTo>
                <a:lnTo>
                  <a:pt x="1578399" y="1754646"/>
                </a:lnTo>
                <a:lnTo>
                  <a:pt x="1573724" y="1705271"/>
                </a:lnTo>
                <a:lnTo>
                  <a:pt x="1571012" y="1655594"/>
                </a:lnTo>
                <a:lnTo>
                  <a:pt x="1570304" y="1605668"/>
                </a:lnTo>
                <a:lnTo>
                  <a:pt x="1571639" y="1555543"/>
                </a:lnTo>
                <a:lnTo>
                  <a:pt x="1575059" y="1505273"/>
                </a:lnTo>
                <a:lnTo>
                  <a:pt x="1580604" y="1454910"/>
                </a:lnTo>
                <a:lnTo>
                  <a:pt x="1588313" y="1404505"/>
                </a:lnTo>
                <a:lnTo>
                  <a:pt x="1598228" y="1354112"/>
                </a:lnTo>
                <a:lnTo>
                  <a:pt x="1610388" y="1303782"/>
                </a:lnTo>
                <a:lnTo>
                  <a:pt x="1624833" y="1253567"/>
                </a:lnTo>
                <a:lnTo>
                  <a:pt x="1641714" y="1202605"/>
                </a:lnTo>
                <a:lnTo>
                  <a:pt x="1660482" y="1152903"/>
                </a:lnTo>
                <a:lnTo>
                  <a:pt x="1681082" y="1104485"/>
                </a:lnTo>
                <a:lnTo>
                  <a:pt x="1703455" y="1057376"/>
                </a:lnTo>
                <a:lnTo>
                  <a:pt x="1727546" y="1011600"/>
                </a:lnTo>
                <a:lnTo>
                  <a:pt x="1753296" y="967182"/>
                </a:lnTo>
                <a:lnTo>
                  <a:pt x="1780650" y="924147"/>
                </a:lnTo>
                <a:lnTo>
                  <a:pt x="1809550" y="882520"/>
                </a:lnTo>
                <a:lnTo>
                  <a:pt x="1839940" y="842325"/>
                </a:lnTo>
                <a:lnTo>
                  <a:pt x="1871761" y="803587"/>
                </a:lnTo>
                <a:lnTo>
                  <a:pt x="1904958" y="766331"/>
                </a:lnTo>
                <a:lnTo>
                  <a:pt x="1939474" y="730581"/>
                </a:lnTo>
                <a:lnTo>
                  <a:pt x="1975250" y="696362"/>
                </a:lnTo>
                <a:lnTo>
                  <a:pt x="2012231" y="663699"/>
                </a:lnTo>
                <a:lnTo>
                  <a:pt x="2050360" y="632616"/>
                </a:lnTo>
                <a:lnTo>
                  <a:pt x="2089579" y="603139"/>
                </a:lnTo>
                <a:lnTo>
                  <a:pt x="2129831" y="575291"/>
                </a:lnTo>
                <a:lnTo>
                  <a:pt x="2171060" y="549098"/>
                </a:lnTo>
                <a:lnTo>
                  <a:pt x="2144739" y="509273"/>
                </a:lnTo>
                <a:lnTo>
                  <a:pt x="2116881" y="470475"/>
                </a:lnTo>
                <a:lnTo>
                  <a:pt x="2087498" y="432763"/>
                </a:lnTo>
                <a:lnTo>
                  <a:pt x="2056600" y="396196"/>
                </a:lnTo>
                <a:lnTo>
                  <a:pt x="2024199" y="360834"/>
                </a:lnTo>
                <a:lnTo>
                  <a:pt x="1990307" y="326736"/>
                </a:lnTo>
                <a:lnTo>
                  <a:pt x="1954934" y="293961"/>
                </a:lnTo>
                <a:lnTo>
                  <a:pt x="1918091" y="262569"/>
                </a:lnTo>
                <a:lnTo>
                  <a:pt x="1879789" y="232618"/>
                </a:lnTo>
                <a:lnTo>
                  <a:pt x="1840041" y="204168"/>
                </a:lnTo>
                <a:lnTo>
                  <a:pt x="1798856" y="177278"/>
                </a:lnTo>
                <a:lnTo>
                  <a:pt x="1756247" y="152008"/>
                </a:lnTo>
                <a:lnTo>
                  <a:pt x="1712224" y="128416"/>
                </a:lnTo>
                <a:lnTo>
                  <a:pt x="1666798" y="106562"/>
                </a:lnTo>
                <a:lnTo>
                  <a:pt x="1619981" y="86505"/>
                </a:lnTo>
                <a:lnTo>
                  <a:pt x="1571784" y="68305"/>
                </a:lnTo>
                <a:lnTo>
                  <a:pt x="1522217" y="52020"/>
                </a:lnTo>
                <a:lnTo>
                  <a:pt x="1475727" y="38705"/>
                </a:lnTo>
                <a:lnTo>
                  <a:pt x="1429139" y="27393"/>
                </a:lnTo>
                <a:lnTo>
                  <a:pt x="1382499" y="18060"/>
                </a:lnTo>
                <a:lnTo>
                  <a:pt x="1335855" y="10680"/>
                </a:lnTo>
                <a:lnTo>
                  <a:pt x="1289255" y="5227"/>
                </a:lnTo>
                <a:lnTo>
                  <a:pt x="1242746" y="1675"/>
                </a:lnTo>
                <a:lnTo>
                  <a:pt x="1196375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object 8">
            <a:extLst>
              <a:ext uri="{FF2B5EF4-FFF2-40B4-BE49-F238E27FC236}">
                <a16:creationId xmlns:a16="http://schemas.microsoft.com/office/drawing/2014/main" id="{9B27EF12-900C-43DB-8F8E-7409C55D9CD1}"/>
              </a:ext>
            </a:extLst>
          </p:cNvPr>
          <p:cNvSpPr txBox="1"/>
          <p:nvPr userDrawn="1"/>
        </p:nvSpPr>
        <p:spPr>
          <a:xfrm>
            <a:off x="8519795" y="1782033"/>
            <a:ext cx="89408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Open Sans"/>
              </a:rPr>
              <a:t>01</a:t>
            </a:r>
            <a:endParaRPr kumimoji="0" sz="6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Open Sans"/>
            </a:endParaRPr>
          </a:p>
        </p:txBody>
      </p:sp>
      <p:sp>
        <p:nvSpPr>
          <p:cNvPr id="51" name="object 9">
            <a:extLst>
              <a:ext uri="{FF2B5EF4-FFF2-40B4-BE49-F238E27FC236}">
                <a16:creationId xmlns:a16="http://schemas.microsoft.com/office/drawing/2014/main" id="{9FC2F9A1-8DFC-4B3B-812A-6DE8A15C8619}"/>
              </a:ext>
            </a:extLst>
          </p:cNvPr>
          <p:cNvSpPr txBox="1"/>
          <p:nvPr userDrawn="1"/>
        </p:nvSpPr>
        <p:spPr>
          <a:xfrm>
            <a:off x="10364088" y="2482057"/>
            <a:ext cx="89408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Open Sans"/>
              </a:rPr>
              <a:t>02</a:t>
            </a:r>
            <a:endParaRPr kumimoji="0" sz="6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Open Sans"/>
            </a:endParaRP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id="{A34C9C25-BC1A-4CD8-A3AD-074E0E6A86E7}"/>
              </a:ext>
            </a:extLst>
          </p:cNvPr>
          <p:cNvSpPr txBox="1"/>
          <p:nvPr userDrawn="1"/>
        </p:nvSpPr>
        <p:spPr>
          <a:xfrm>
            <a:off x="9667494" y="4390042"/>
            <a:ext cx="894715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Open Sans"/>
              </a:rPr>
              <a:t>03</a:t>
            </a:r>
            <a:endParaRPr kumimoji="0" sz="6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Open Sans"/>
            </a:endParaRPr>
          </a:p>
        </p:txBody>
      </p:sp>
      <p:sp>
        <p:nvSpPr>
          <p:cNvPr id="53" name="object 11">
            <a:extLst>
              <a:ext uri="{FF2B5EF4-FFF2-40B4-BE49-F238E27FC236}">
                <a16:creationId xmlns:a16="http://schemas.microsoft.com/office/drawing/2014/main" id="{62E135BB-360F-464F-B169-FE5439DC92C0}"/>
              </a:ext>
            </a:extLst>
          </p:cNvPr>
          <p:cNvSpPr txBox="1"/>
          <p:nvPr userDrawn="1"/>
        </p:nvSpPr>
        <p:spPr>
          <a:xfrm>
            <a:off x="7855838" y="3692494"/>
            <a:ext cx="89408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Open Sans"/>
              </a:rPr>
              <a:t>04</a:t>
            </a:r>
            <a:endParaRPr kumimoji="0" sz="6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Open Sans"/>
            </a:endParaRPr>
          </a:p>
        </p:txBody>
      </p:sp>
      <p:sp>
        <p:nvSpPr>
          <p:cNvPr id="56" name="object 13">
            <a:extLst>
              <a:ext uri="{FF2B5EF4-FFF2-40B4-BE49-F238E27FC236}">
                <a16:creationId xmlns:a16="http://schemas.microsoft.com/office/drawing/2014/main" id="{C05AE54B-F25E-4945-A7F9-34BEDF947F92}"/>
              </a:ext>
            </a:extLst>
          </p:cNvPr>
          <p:cNvSpPr/>
          <p:nvPr/>
        </p:nvSpPr>
        <p:spPr>
          <a:xfrm>
            <a:off x="393700" y="1401845"/>
            <a:ext cx="1991360" cy="439420"/>
          </a:xfrm>
          <a:custGeom>
            <a:avLst/>
            <a:gdLst/>
            <a:ahLst/>
            <a:cxnLst/>
            <a:rect l="l" t="t" r="r" b="b"/>
            <a:pathLst>
              <a:path w="1991360" h="439419">
                <a:moveTo>
                  <a:pt x="1771650" y="0"/>
                </a:moveTo>
                <a:lnTo>
                  <a:pt x="219709" y="0"/>
                </a:lnTo>
                <a:lnTo>
                  <a:pt x="175429" y="4466"/>
                </a:lnTo>
                <a:lnTo>
                  <a:pt x="134186" y="17273"/>
                </a:lnTo>
                <a:lnTo>
                  <a:pt x="96865" y="37538"/>
                </a:lnTo>
                <a:lnTo>
                  <a:pt x="64349" y="64373"/>
                </a:lnTo>
                <a:lnTo>
                  <a:pt x="37521" y="96893"/>
                </a:lnTo>
                <a:lnTo>
                  <a:pt x="17265" y="134213"/>
                </a:lnTo>
                <a:lnTo>
                  <a:pt x="4463" y="175447"/>
                </a:lnTo>
                <a:lnTo>
                  <a:pt x="0" y="219709"/>
                </a:lnTo>
                <a:lnTo>
                  <a:pt x="4463" y="263972"/>
                </a:lnTo>
                <a:lnTo>
                  <a:pt x="17265" y="305206"/>
                </a:lnTo>
                <a:lnTo>
                  <a:pt x="37521" y="342526"/>
                </a:lnTo>
                <a:lnTo>
                  <a:pt x="64349" y="375046"/>
                </a:lnTo>
                <a:lnTo>
                  <a:pt x="96865" y="401881"/>
                </a:lnTo>
                <a:lnTo>
                  <a:pt x="134186" y="422146"/>
                </a:lnTo>
                <a:lnTo>
                  <a:pt x="175429" y="434953"/>
                </a:lnTo>
                <a:lnTo>
                  <a:pt x="219709" y="439419"/>
                </a:lnTo>
                <a:lnTo>
                  <a:pt x="1771650" y="439419"/>
                </a:lnTo>
                <a:lnTo>
                  <a:pt x="1815912" y="434953"/>
                </a:lnTo>
                <a:lnTo>
                  <a:pt x="1857146" y="422146"/>
                </a:lnTo>
                <a:lnTo>
                  <a:pt x="1894466" y="401881"/>
                </a:lnTo>
                <a:lnTo>
                  <a:pt x="1926986" y="375046"/>
                </a:lnTo>
                <a:lnTo>
                  <a:pt x="1953821" y="342526"/>
                </a:lnTo>
                <a:lnTo>
                  <a:pt x="1974086" y="305206"/>
                </a:lnTo>
                <a:lnTo>
                  <a:pt x="1986893" y="263972"/>
                </a:lnTo>
                <a:lnTo>
                  <a:pt x="1991360" y="219709"/>
                </a:lnTo>
                <a:lnTo>
                  <a:pt x="1986893" y="175447"/>
                </a:lnTo>
                <a:lnTo>
                  <a:pt x="1974086" y="134213"/>
                </a:lnTo>
                <a:lnTo>
                  <a:pt x="1953821" y="96893"/>
                </a:lnTo>
                <a:lnTo>
                  <a:pt x="1926986" y="64373"/>
                </a:lnTo>
                <a:lnTo>
                  <a:pt x="1894466" y="37538"/>
                </a:lnTo>
                <a:lnTo>
                  <a:pt x="1857146" y="17273"/>
                </a:lnTo>
                <a:lnTo>
                  <a:pt x="1815912" y="4466"/>
                </a:lnTo>
                <a:lnTo>
                  <a:pt x="177165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9" name="object 14">
            <a:extLst>
              <a:ext uri="{FF2B5EF4-FFF2-40B4-BE49-F238E27FC236}">
                <a16:creationId xmlns:a16="http://schemas.microsoft.com/office/drawing/2014/main" id="{3DE46D69-DE31-4EC1-84CD-6522D8021E76}"/>
              </a:ext>
            </a:extLst>
          </p:cNvPr>
          <p:cNvSpPr/>
          <p:nvPr/>
        </p:nvSpPr>
        <p:spPr>
          <a:xfrm>
            <a:off x="414020" y="1417085"/>
            <a:ext cx="416559" cy="408940"/>
          </a:xfrm>
          <a:custGeom>
            <a:avLst/>
            <a:gdLst/>
            <a:ahLst/>
            <a:cxnLst/>
            <a:rect l="l" t="t" r="r" b="b"/>
            <a:pathLst>
              <a:path w="416559" h="408939">
                <a:moveTo>
                  <a:pt x="210680" y="0"/>
                </a:moveTo>
                <a:lnTo>
                  <a:pt x="161316" y="5535"/>
                </a:lnTo>
                <a:lnTo>
                  <a:pt x="116561" y="21264"/>
                </a:lnTo>
                <a:lnTo>
                  <a:pt x="77502" y="45876"/>
                </a:lnTo>
                <a:lnTo>
                  <a:pt x="45227" y="78057"/>
                </a:lnTo>
                <a:lnTo>
                  <a:pt x="20826" y="116493"/>
                </a:lnTo>
                <a:lnTo>
                  <a:pt x="5388" y="159873"/>
                </a:lnTo>
                <a:lnTo>
                  <a:pt x="0" y="206882"/>
                </a:lnTo>
                <a:lnTo>
                  <a:pt x="5388" y="253585"/>
                </a:lnTo>
                <a:lnTo>
                  <a:pt x="20826" y="296259"/>
                </a:lnTo>
                <a:lnTo>
                  <a:pt x="45227" y="333756"/>
                </a:lnTo>
                <a:lnTo>
                  <a:pt x="77502" y="364922"/>
                </a:lnTo>
                <a:lnTo>
                  <a:pt x="116561" y="388609"/>
                </a:lnTo>
                <a:lnTo>
                  <a:pt x="161316" y="403665"/>
                </a:lnTo>
                <a:lnTo>
                  <a:pt x="210680" y="408939"/>
                </a:lnTo>
                <a:lnTo>
                  <a:pt x="416559" y="408939"/>
                </a:lnTo>
                <a:lnTo>
                  <a:pt x="416559" y="206882"/>
                </a:lnTo>
                <a:lnTo>
                  <a:pt x="411185" y="159873"/>
                </a:lnTo>
                <a:lnTo>
                  <a:pt x="395845" y="116493"/>
                </a:lnTo>
                <a:lnTo>
                  <a:pt x="371710" y="78057"/>
                </a:lnTo>
                <a:lnTo>
                  <a:pt x="339953" y="45876"/>
                </a:lnTo>
                <a:lnTo>
                  <a:pt x="301748" y="21264"/>
                </a:lnTo>
                <a:lnTo>
                  <a:pt x="258266" y="5535"/>
                </a:lnTo>
                <a:lnTo>
                  <a:pt x="2106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1" name="object 17">
            <a:extLst>
              <a:ext uri="{FF2B5EF4-FFF2-40B4-BE49-F238E27FC236}">
                <a16:creationId xmlns:a16="http://schemas.microsoft.com/office/drawing/2014/main" id="{E5CEDFDC-1920-4F13-9E76-C00F3F09D2F9}"/>
              </a:ext>
            </a:extLst>
          </p:cNvPr>
          <p:cNvSpPr/>
          <p:nvPr/>
        </p:nvSpPr>
        <p:spPr>
          <a:xfrm>
            <a:off x="393700" y="2642174"/>
            <a:ext cx="1991360" cy="439420"/>
          </a:xfrm>
          <a:custGeom>
            <a:avLst/>
            <a:gdLst/>
            <a:ahLst/>
            <a:cxnLst/>
            <a:rect l="l" t="t" r="r" b="b"/>
            <a:pathLst>
              <a:path w="1991360" h="439419">
                <a:moveTo>
                  <a:pt x="1771650" y="0"/>
                </a:moveTo>
                <a:lnTo>
                  <a:pt x="219709" y="0"/>
                </a:lnTo>
                <a:lnTo>
                  <a:pt x="175429" y="4466"/>
                </a:lnTo>
                <a:lnTo>
                  <a:pt x="134186" y="17273"/>
                </a:lnTo>
                <a:lnTo>
                  <a:pt x="96865" y="37538"/>
                </a:lnTo>
                <a:lnTo>
                  <a:pt x="64349" y="64373"/>
                </a:lnTo>
                <a:lnTo>
                  <a:pt x="37521" y="96893"/>
                </a:lnTo>
                <a:lnTo>
                  <a:pt x="17265" y="134213"/>
                </a:lnTo>
                <a:lnTo>
                  <a:pt x="4463" y="175447"/>
                </a:lnTo>
                <a:lnTo>
                  <a:pt x="0" y="219709"/>
                </a:lnTo>
                <a:lnTo>
                  <a:pt x="4463" y="263972"/>
                </a:lnTo>
                <a:lnTo>
                  <a:pt x="17265" y="305206"/>
                </a:lnTo>
                <a:lnTo>
                  <a:pt x="37521" y="342526"/>
                </a:lnTo>
                <a:lnTo>
                  <a:pt x="64349" y="375046"/>
                </a:lnTo>
                <a:lnTo>
                  <a:pt x="96865" y="401881"/>
                </a:lnTo>
                <a:lnTo>
                  <a:pt x="134186" y="422146"/>
                </a:lnTo>
                <a:lnTo>
                  <a:pt x="175429" y="434953"/>
                </a:lnTo>
                <a:lnTo>
                  <a:pt x="219709" y="439419"/>
                </a:lnTo>
                <a:lnTo>
                  <a:pt x="1771650" y="439419"/>
                </a:lnTo>
                <a:lnTo>
                  <a:pt x="1815912" y="434953"/>
                </a:lnTo>
                <a:lnTo>
                  <a:pt x="1857146" y="422146"/>
                </a:lnTo>
                <a:lnTo>
                  <a:pt x="1894466" y="401881"/>
                </a:lnTo>
                <a:lnTo>
                  <a:pt x="1926986" y="375046"/>
                </a:lnTo>
                <a:lnTo>
                  <a:pt x="1953821" y="342526"/>
                </a:lnTo>
                <a:lnTo>
                  <a:pt x="1974086" y="305206"/>
                </a:lnTo>
                <a:lnTo>
                  <a:pt x="1986893" y="263972"/>
                </a:lnTo>
                <a:lnTo>
                  <a:pt x="1991360" y="219709"/>
                </a:lnTo>
                <a:lnTo>
                  <a:pt x="1986893" y="175447"/>
                </a:lnTo>
                <a:lnTo>
                  <a:pt x="1974086" y="134213"/>
                </a:lnTo>
                <a:lnTo>
                  <a:pt x="1953821" y="96893"/>
                </a:lnTo>
                <a:lnTo>
                  <a:pt x="1926986" y="64373"/>
                </a:lnTo>
                <a:lnTo>
                  <a:pt x="1894466" y="37538"/>
                </a:lnTo>
                <a:lnTo>
                  <a:pt x="1857146" y="17273"/>
                </a:lnTo>
                <a:lnTo>
                  <a:pt x="1815912" y="4466"/>
                </a:lnTo>
                <a:lnTo>
                  <a:pt x="177165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2" name="object 18">
            <a:extLst>
              <a:ext uri="{FF2B5EF4-FFF2-40B4-BE49-F238E27FC236}">
                <a16:creationId xmlns:a16="http://schemas.microsoft.com/office/drawing/2014/main" id="{6D9B6BF2-C4DA-4260-B566-964744FA5F5D}"/>
              </a:ext>
            </a:extLst>
          </p:cNvPr>
          <p:cNvSpPr/>
          <p:nvPr/>
        </p:nvSpPr>
        <p:spPr>
          <a:xfrm>
            <a:off x="414020" y="2657414"/>
            <a:ext cx="416559" cy="408940"/>
          </a:xfrm>
          <a:custGeom>
            <a:avLst/>
            <a:gdLst/>
            <a:ahLst/>
            <a:cxnLst/>
            <a:rect l="l" t="t" r="r" b="b"/>
            <a:pathLst>
              <a:path w="416559" h="408939">
                <a:moveTo>
                  <a:pt x="210680" y="0"/>
                </a:moveTo>
                <a:lnTo>
                  <a:pt x="161316" y="5535"/>
                </a:lnTo>
                <a:lnTo>
                  <a:pt x="116561" y="21264"/>
                </a:lnTo>
                <a:lnTo>
                  <a:pt x="77502" y="45876"/>
                </a:lnTo>
                <a:lnTo>
                  <a:pt x="45227" y="78057"/>
                </a:lnTo>
                <a:lnTo>
                  <a:pt x="20826" y="116493"/>
                </a:lnTo>
                <a:lnTo>
                  <a:pt x="5388" y="159873"/>
                </a:lnTo>
                <a:lnTo>
                  <a:pt x="0" y="206882"/>
                </a:lnTo>
                <a:lnTo>
                  <a:pt x="5388" y="253585"/>
                </a:lnTo>
                <a:lnTo>
                  <a:pt x="20826" y="296259"/>
                </a:lnTo>
                <a:lnTo>
                  <a:pt x="45227" y="333756"/>
                </a:lnTo>
                <a:lnTo>
                  <a:pt x="77502" y="364922"/>
                </a:lnTo>
                <a:lnTo>
                  <a:pt x="116561" y="388609"/>
                </a:lnTo>
                <a:lnTo>
                  <a:pt x="161316" y="403665"/>
                </a:lnTo>
                <a:lnTo>
                  <a:pt x="210680" y="408939"/>
                </a:lnTo>
                <a:lnTo>
                  <a:pt x="416559" y="408939"/>
                </a:lnTo>
                <a:lnTo>
                  <a:pt x="416559" y="206882"/>
                </a:lnTo>
                <a:lnTo>
                  <a:pt x="411185" y="159873"/>
                </a:lnTo>
                <a:lnTo>
                  <a:pt x="395845" y="116493"/>
                </a:lnTo>
                <a:lnTo>
                  <a:pt x="371710" y="78057"/>
                </a:lnTo>
                <a:lnTo>
                  <a:pt x="339953" y="45876"/>
                </a:lnTo>
                <a:lnTo>
                  <a:pt x="301748" y="21264"/>
                </a:lnTo>
                <a:lnTo>
                  <a:pt x="258266" y="5535"/>
                </a:lnTo>
                <a:lnTo>
                  <a:pt x="2106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4" name="object 21">
            <a:extLst>
              <a:ext uri="{FF2B5EF4-FFF2-40B4-BE49-F238E27FC236}">
                <a16:creationId xmlns:a16="http://schemas.microsoft.com/office/drawing/2014/main" id="{3FA7E3D7-3F26-4F2F-90B2-2908743B9D94}"/>
              </a:ext>
            </a:extLst>
          </p:cNvPr>
          <p:cNvSpPr/>
          <p:nvPr/>
        </p:nvSpPr>
        <p:spPr>
          <a:xfrm>
            <a:off x="393700" y="3882503"/>
            <a:ext cx="1991360" cy="439420"/>
          </a:xfrm>
          <a:custGeom>
            <a:avLst/>
            <a:gdLst/>
            <a:ahLst/>
            <a:cxnLst/>
            <a:rect l="l" t="t" r="r" b="b"/>
            <a:pathLst>
              <a:path w="1991360" h="439420">
                <a:moveTo>
                  <a:pt x="1771650" y="0"/>
                </a:moveTo>
                <a:lnTo>
                  <a:pt x="219709" y="0"/>
                </a:lnTo>
                <a:lnTo>
                  <a:pt x="175429" y="4466"/>
                </a:lnTo>
                <a:lnTo>
                  <a:pt x="134186" y="17273"/>
                </a:lnTo>
                <a:lnTo>
                  <a:pt x="96865" y="37538"/>
                </a:lnTo>
                <a:lnTo>
                  <a:pt x="64349" y="64373"/>
                </a:lnTo>
                <a:lnTo>
                  <a:pt x="37521" y="96893"/>
                </a:lnTo>
                <a:lnTo>
                  <a:pt x="17265" y="134213"/>
                </a:lnTo>
                <a:lnTo>
                  <a:pt x="4463" y="175447"/>
                </a:lnTo>
                <a:lnTo>
                  <a:pt x="0" y="219709"/>
                </a:lnTo>
                <a:lnTo>
                  <a:pt x="4463" y="263972"/>
                </a:lnTo>
                <a:lnTo>
                  <a:pt x="17265" y="305206"/>
                </a:lnTo>
                <a:lnTo>
                  <a:pt x="37521" y="342526"/>
                </a:lnTo>
                <a:lnTo>
                  <a:pt x="64349" y="375046"/>
                </a:lnTo>
                <a:lnTo>
                  <a:pt x="96865" y="401881"/>
                </a:lnTo>
                <a:lnTo>
                  <a:pt x="134186" y="422146"/>
                </a:lnTo>
                <a:lnTo>
                  <a:pt x="175429" y="434953"/>
                </a:lnTo>
                <a:lnTo>
                  <a:pt x="219709" y="439419"/>
                </a:lnTo>
                <a:lnTo>
                  <a:pt x="1771650" y="439419"/>
                </a:lnTo>
                <a:lnTo>
                  <a:pt x="1815912" y="434953"/>
                </a:lnTo>
                <a:lnTo>
                  <a:pt x="1857146" y="422146"/>
                </a:lnTo>
                <a:lnTo>
                  <a:pt x="1894466" y="401881"/>
                </a:lnTo>
                <a:lnTo>
                  <a:pt x="1926986" y="375046"/>
                </a:lnTo>
                <a:lnTo>
                  <a:pt x="1953821" y="342526"/>
                </a:lnTo>
                <a:lnTo>
                  <a:pt x="1974086" y="305206"/>
                </a:lnTo>
                <a:lnTo>
                  <a:pt x="1986893" y="263972"/>
                </a:lnTo>
                <a:lnTo>
                  <a:pt x="1991360" y="219709"/>
                </a:lnTo>
                <a:lnTo>
                  <a:pt x="1986893" y="175447"/>
                </a:lnTo>
                <a:lnTo>
                  <a:pt x="1974086" y="134213"/>
                </a:lnTo>
                <a:lnTo>
                  <a:pt x="1953821" y="96893"/>
                </a:lnTo>
                <a:lnTo>
                  <a:pt x="1926986" y="64373"/>
                </a:lnTo>
                <a:lnTo>
                  <a:pt x="1894466" y="37538"/>
                </a:lnTo>
                <a:lnTo>
                  <a:pt x="1857146" y="17273"/>
                </a:lnTo>
                <a:lnTo>
                  <a:pt x="1815912" y="4466"/>
                </a:lnTo>
                <a:lnTo>
                  <a:pt x="177165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5" name="object 22">
            <a:extLst>
              <a:ext uri="{FF2B5EF4-FFF2-40B4-BE49-F238E27FC236}">
                <a16:creationId xmlns:a16="http://schemas.microsoft.com/office/drawing/2014/main" id="{E72F5F9E-0A1D-4B32-BEBE-5AA39E5227ED}"/>
              </a:ext>
            </a:extLst>
          </p:cNvPr>
          <p:cNvSpPr/>
          <p:nvPr/>
        </p:nvSpPr>
        <p:spPr>
          <a:xfrm>
            <a:off x="414020" y="3897743"/>
            <a:ext cx="416559" cy="408940"/>
          </a:xfrm>
          <a:custGeom>
            <a:avLst/>
            <a:gdLst/>
            <a:ahLst/>
            <a:cxnLst/>
            <a:rect l="l" t="t" r="r" b="b"/>
            <a:pathLst>
              <a:path w="416559" h="408939">
                <a:moveTo>
                  <a:pt x="210680" y="0"/>
                </a:moveTo>
                <a:lnTo>
                  <a:pt x="161316" y="5535"/>
                </a:lnTo>
                <a:lnTo>
                  <a:pt x="116561" y="21264"/>
                </a:lnTo>
                <a:lnTo>
                  <a:pt x="77502" y="45876"/>
                </a:lnTo>
                <a:lnTo>
                  <a:pt x="45227" y="78057"/>
                </a:lnTo>
                <a:lnTo>
                  <a:pt x="20826" y="116493"/>
                </a:lnTo>
                <a:lnTo>
                  <a:pt x="5388" y="159873"/>
                </a:lnTo>
                <a:lnTo>
                  <a:pt x="0" y="206882"/>
                </a:lnTo>
                <a:lnTo>
                  <a:pt x="5388" y="253585"/>
                </a:lnTo>
                <a:lnTo>
                  <a:pt x="20826" y="296259"/>
                </a:lnTo>
                <a:lnTo>
                  <a:pt x="45227" y="333756"/>
                </a:lnTo>
                <a:lnTo>
                  <a:pt x="77502" y="364922"/>
                </a:lnTo>
                <a:lnTo>
                  <a:pt x="116561" y="388609"/>
                </a:lnTo>
                <a:lnTo>
                  <a:pt x="161316" y="403665"/>
                </a:lnTo>
                <a:lnTo>
                  <a:pt x="210680" y="408939"/>
                </a:lnTo>
                <a:lnTo>
                  <a:pt x="416559" y="408939"/>
                </a:lnTo>
                <a:lnTo>
                  <a:pt x="416559" y="206882"/>
                </a:lnTo>
                <a:lnTo>
                  <a:pt x="411185" y="159873"/>
                </a:lnTo>
                <a:lnTo>
                  <a:pt x="395845" y="116493"/>
                </a:lnTo>
                <a:lnTo>
                  <a:pt x="371710" y="78057"/>
                </a:lnTo>
                <a:lnTo>
                  <a:pt x="339953" y="45876"/>
                </a:lnTo>
                <a:lnTo>
                  <a:pt x="301748" y="21264"/>
                </a:lnTo>
                <a:lnTo>
                  <a:pt x="258266" y="5535"/>
                </a:lnTo>
                <a:lnTo>
                  <a:pt x="2106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7" name="object 25">
            <a:extLst>
              <a:ext uri="{FF2B5EF4-FFF2-40B4-BE49-F238E27FC236}">
                <a16:creationId xmlns:a16="http://schemas.microsoft.com/office/drawing/2014/main" id="{0B2D40F9-4CD3-4272-9CC6-8D45B91503F1}"/>
              </a:ext>
            </a:extLst>
          </p:cNvPr>
          <p:cNvSpPr/>
          <p:nvPr/>
        </p:nvSpPr>
        <p:spPr>
          <a:xfrm>
            <a:off x="393700" y="5122833"/>
            <a:ext cx="1991360" cy="436880"/>
          </a:xfrm>
          <a:custGeom>
            <a:avLst/>
            <a:gdLst/>
            <a:ahLst/>
            <a:cxnLst/>
            <a:rect l="l" t="t" r="r" b="b"/>
            <a:pathLst>
              <a:path w="1991360" h="436879">
                <a:moveTo>
                  <a:pt x="1772920" y="0"/>
                </a:moveTo>
                <a:lnTo>
                  <a:pt x="218439" y="0"/>
                </a:lnTo>
                <a:lnTo>
                  <a:pt x="168354" y="5768"/>
                </a:lnTo>
                <a:lnTo>
                  <a:pt x="122377" y="22200"/>
                </a:lnTo>
                <a:lnTo>
                  <a:pt x="81818" y="47986"/>
                </a:lnTo>
                <a:lnTo>
                  <a:pt x="47990" y="81813"/>
                </a:lnTo>
                <a:lnTo>
                  <a:pt x="22203" y="122371"/>
                </a:lnTo>
                <a:lnTo>
                  <a:pt x="5769" y="168350"/>
                </a:lnTo>
                <a:lnTo>
                  <a:pt x="0" y="218439"/>
                </a:lnTo>
                <a:lnTo>
                  <a:pt x="5769" y="268529"/>
                </a:lnTo>
                <a:lnTo>
                  <a:pt x="22203" y="314508"/>
                </a:lnTo>
                <a:lnTo>
                  <a:pt x="47990" y="355066"/>
                </a:lnTo>
                <a:lnTo>
                  <a:pt x="81818" y="388893"/>
                </a:lnTo>
                <a:lnTo>
                  <a:pt x="122377" y="414679"/>
                </a:lnTo>
                <a:lnTo>
                  <a:pt x="168354" y="431111"/>
                </a:lnTo>
                <a:lnTo>
                  <a:pt x="218439" y="436879"/>
                </a:lnTo>
                <a:lnTo>
                  <a:pt x="1772920" y="436879"/>
                </a:lnTo>
                <a:lnTo>
                  <a:pt x="1823009" y="431111"/>
                </a:lnTo>
                <a:lnTo>
                  <a:pt x="1868988" y="414679"/>
                </a:lnTo>
                <a:lnTo>
                  <a:pt x="1909546" y="388893"/>
                </a:lnTo>
                <a:lnTo>
                  <a:pt x="1943373" y="355066"/>
                </a:lnTo>
                <a:lnTo>
                  <a:pt x="1969159" y="314508"/>
                </a:lnTo>
                <a:lnTo>
                  <a:pt x="1985591" y="268529"/>
                </a:lnTo>
                <a:lnTo>
                  <a:pt x="1991360" y="218439"/>
                </a:lnTo>
                <a:lnTo>
                  <a:pt x="1985591" y="168350"/>
                </a:lnTo>
                <a:lnTo>
                  <a:pt x="1969159" y="122371"/>
                </a:lnTo>
                <a:lnTo>
                  <a:pt x="1943373" y="81813"/>
                </a:lnTo>
                <a:lnTo>
                  <a:pt x="1909546" y="47986"/>
                </a:lnTo>
                <a:lnTo>
                  <a:pt x="1868988" y="22200"/>
                </a:lnTo>
                <a:lnTo>
                  <a:pt x="1823009" y="5768"/>
                </a:lnTo>
                <a:lnTo>
                  <a:pt x="177292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8" name="object 26">
            <a:extLst>
              <a:ext uri="{FF2B5EF4-FFF2-40B4-BE49-F238E27FC236}">
                <a16:creationId xmlns:a16="http://schemas.microsoft.com/office/drawing/2014/main" id="{57224B45-0EDC-4045-B468-A6D4BE0E1D3C}"/>
              </a:ext>
            </a:extLst>
          </p:cNvPr>
          <p:cNvSpPr/>
          <p:nvPr/>
        </p:nvSpPr>
        <p:spPr>
          <a:xfrm>
            <a:off x="414020" y="5135533"/>
            <a:ext cx="416559" cy="411480"/>
          </a:xfrm>
          <a:custGeom>
            <a:avLst/>
            <a:gdLst/>
            <a:ahLst/>
            <a:cxnLst/>
            <a:rect l="l" t="t" r="r" b="b"/>
            <a:pathLst>
              <a:path w="416559" h="411479">
                <a:moveTo>
                  <a:pt x="210680" y="0"/>
                </a:moveTo>
                <a:lnTo>
                  <a:pt x="161316" y="5572"/>
                </a:lnTo>
                <a:lnTo>
                  <a:pt x="116561" y="21405"/>
                </a:lnTo>
                <a:lnTo>
                  <a:pt x="77502" y="46176"/>
                </a:lnTo>
                <a:lnTo>
                  <a:pt x="45227" y="78560"/>
                </a:lnTo>
                <a:lnTo>
                  <a:pt x="20826" y="117234"/>
                </a:lnTo>
                <a:lnTo>
                  <a:pt x="5388" y="160873"/>
                </a:lnTo>
                <a:lnTo>
                  <a:pt x="0" y="208152"/>
                </a:lnTo>
                <a:lnTo>
                  <a:pt x="5388" y="255125"/>
                </a:lnTo>
                <a:lnTo>
                  <a:pt x="20826" y="298059"/>
                </a:lnTo>
                <a:lnTo>
                  <a:pt x="45227" y="335792"/>
                </a:lnTo>
                <a:lnTo>
                  <a:pt x="77502" y="367162"/>
                </a:lnTo>
                <a:lnTo>
                  <a:pt x="116561" y="391008"/>
                </a:lnTo>
                <a:lnTo>
                  <a:pt x="161316" y="406168"/>
                </a:lnTo>
                <a:lnTo>
                  <a:pt x="210680" y="411479"/>
                </a:lnTo>
                <a:lnTo>
                  <a:pt x="416559" y="411479"/>
                </a:lnTo>
                <a:lnTo>
                  <a:pt x="416559" y="208152"/>
                </a:lnTo>
                <a:lnTo>
                  <a:pt x="411185" y="160873"/>
                </a:lnTo>
                <a:lnTo>
                  <a:pt x="395845" y="117234"/>
                </a:lnTo>
                <a:lnTo>
                  <a:pt x="371710" y="78560"/>
                </a:lnTo>
                <a:lnTo>
                  <a:pt x="339953" y="46176"/>
                </a:lnTo>
                <a:lnTo>
                  <a:pt x="301748" y="21405"/>
                </a:lnTo>
                <a:lnTo>
                  <a:pt x="258266" y="5572"/>
                </a:lnTo>
                <a:lnTo>
                  <a:pt x="2106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6AB74CDF-D79D-4936-AA65-F792960416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4880" y="1513833"/>
            <a:ext cx="12954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0" name="Text Placeholder 17">
            <a:extLst>
              <a:ext uri="{FF2B5EF4-FFF2-40B4-BE49-F238E27FC236}">
                <a16:creationId xmlns:a16="http://schemas.microsoft.com/office/drawing/2014/main" id="{FE22D598-53CC-4F82-A331-24B57CE252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880" y="2754162"/>
            <a:ext cx="12954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A258C6D2-72F2-4B06-A1C9-04E64C43A2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880" y="3994491"/>
            <a:ext cx="12954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64AB8B97-2775-4ECB-8C52-B4A8A9FA88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4880" y="5233551"/>
            <a:ext cx="129540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861D3182-4C65-4AA7-810C-00C4914DC8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4879" y="1935191"/>
            <a:ext cx="611441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data statistical this methodologies ne used in  data analysis which </a:t>
            </a:r>
            <a:r>
              <a:rPr lang="en-US" err="1"/>
              <a:t>hase</a:t>
            </a:r>
            <a:r>
              <a:rPr lang="en-US"/>
              <a:t> summarizes data. sed an </a:t>
            </a:r>
            <a:r>
              <a:rPr lang="en-US" err="1"/>
              <a:t>graecie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nvenire</a:t>
            </a:r>
            <a:r>
              <a:rPr lang="en-US"/>
              <a:t>.</a:t>
            </a:r>
          </a:p>
        </p:txBody>
      </p:sp>
      <p:sp>
        <p:nvSpPr>
          <p:cNvPr id="74" name="Text Placeholder 17">
            <a:extLst>
              <a:ext uri="{FF2B5EF4-FFF2-40B4-BE49-F238E27FC236}">
                <a16:creationId xmlns:a16="http://schemas.microsoft.com/office/drawing/2014/main" id="{6764C794-2417-41EC-BD52-3BA9F6BA44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4879" y="3175520"/>
            <a:ext cx="611441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data statistical this methodologies ne used in  data analysis which </a:t>
            </a:r>
            <a:r>
              <a:rPr lang="en-US" err="1"/>
              <a:t>hase</a:t>
            </a:r>
            <a:r>
              <a:rPr lang="en-US"/>
              <a:t> summarizes data. sed an </a:t>
            </a:r>
            <a:r>
              <a:rPr lang="en-US" err="1"/>
              <a:t>graecie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nvenire</a:t>
            </a:r>
            <a:r>
              <a:rPr lang="en-US"/>
              <a:t>.</a:t>
            </a:r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EB9B5B29-FC48-472E-B158-B667F92443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4879" y="4415849"/>
            <a:ext cx="611441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data statistical this methodologies ne used in  data analysis which </a:t>
            </a:r>
            <a:r>
              <a:rPr lang="en-US" err="1"/>
              <a:t>hase</a:t>
            </a:r>
            <a:r>
              <a:rPr lang="en-US"/>
              <a:t> summarizes data. sed an </a:t>
            </a:r>
            <a:r>
              <a:rPr lang="en-US" err="1"/>
              <a:t>graecie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nvenire</a:t>
            </a:r>
            <a:r>
              <a:rPr lang="en-US"/>
              <a:t>.</a:t>
            </a: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50E0B84C-AE86-42E2-B4E1-4872F26387C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4879" y="5656179"/>
            <a:ext cx="611441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data statistical this methodologies ne used in  data analysis which </a:t>
            </a:r>
            <a:r>
              <a:rPr lang="en-US" err="1"/>
              <a:t>hase</a:t>
            </a:r>
            <a:r>
              <a:rPr lang="en-US"/>
              <a:t> summarizes data. sed an </a:t>
            </a:r>
            <a:r>
              <a:rPr lang="en-US" err="1"/>
              <a:t>graecie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nvenire</a:t>
            </a:r>
            <a:r>
              <a:rPr lang="en-US"/>
              <a:t>.</a:t>
            </a:r>
          </a:p>
        </p:txBody>
      </p:sp>
      <p:pic>
        <p:nvPicPr>
          <p:cNvPr id="31" name="Picture 30" descr="darkest-green-horz.png">
            <a:extLst>
              <a:ext uri="{FF2B5EF4-FFF2-40B4-BE49-F238E27FC236}">
                <a16:creationId xmlns:a16="http://schemas.microsoft.com/office/drawing/2014/main" id="{ECC08715-467D-48F0-8DF9-3BC7AF7380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139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58648553-F0E4-4293-A1E4-76BF0F541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4608B74-D936-4D3E-A7C3-803A3ACB2B03}"/>
              </a:ext>
            </a:extLst>
          </p:cNvPr>
          <p:cNvSpPr/>
          <p:nvPr userDrawn="1"/>
        </p:nvSpPr>
        <p:spPr>
          <a:xfrm>
            <a:off x="3176" y="0"/>
            <a:ext cx="1218882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6000"/>
                </a:schemeClr>
              </a:gs>
              <a:gs pos="55000">
                <a:schemeClr val="accent1">
                  <a:alpha val="76000"/>
                </a:schemeClr>
              </a:gs>
              <a:gs pos="100000">
                <a:schemeClr val="accent5">
                  <a:alpha val="7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5542674E-6B2D-4941-880D-49883B684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3588" y="3013502"/>
            <a:ext cx="8128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lang="en-US" sz="54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Divider slide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94399505-3C22-45D7-A9A3-A363576ED4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5770" y="6403403"/>
            <a:ext cx="1060460" cy="29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6237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5 Category Layout/Proce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bject 4">
            <a:extLst>
              <a:ext uri="{FF2B5EF4-FFF2-40B4-BE49-F238E27FC236}">
                <a16:creationId xmlns:a16="http://schemas.microsoft.com/office/drawing/2014/main" id="{6CF1DF9B-E504-45ED-A239-28FDFBD3720A}"/>
              </a:ext>
            </a:extLst>
          </p:cNvPr>
          <p:cNvSpPr/>
          <p:nvPr userDrawn="1"/>
        </p:nvSpPr>
        <p:spPr>
          <a:xfrm>
            <a:off x="393700" y="1410759"/>
            <a:ext cx="2165024" cy="4545541"/>
          </a:xfrm>
          <a:custGeom>
            <a:avLst/>
            <a:gdLst/>
            <a:ahLst/>
            <a:cxnLst/>
            <a:rect l="l" t="t" r="r" b="b"/>
            <a:pathLst>
              <a:path w="1940560" h="4089400">
                <a:moveTo>
                  <a:pt x="1940560" y="0"/>
                </a:moveTo>
                <a:lnTo>
                  <a:pt x="0" y="0"/>
                </a:lnTo>
                <a:lnTo>
                  <a:pt x="0" y="4089400"/>
                </a:lnTo>
                <a:lnTo>
                  <a:pt x="1940560" y="4089400"/>
                </a:lnTo>
                <a:lnTo>
                  <a:pt x="194056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8" name="object 8">
            <a:extLst>
              <a:ext uri="{FF2B5EF4-FFF2-40B4-BE49-F238E27FC236}">
                <a16:creationId xmlns:a16="http://schemas.microsoft.com/office/drawing/2014/main" id="{8E7CE4C4-C190-409B-8044-AF1B03DF1199}"/>
              </a:ext>
            </a:extLst>
          </p:cNvPr>
          <p:cNvSpPr/>
          <p:nvPr userDrawn="1"/>
        </p:nvSpPr>
        <p:spPr>
          <a:xfrm>
            <a:off x="2703594" y="1410759"/>
            <a:ext cx="2165024" cy="4545541"/>
          </a:xfrm>
          <a:custGeom>
            <a:avLst/>
            <a:gdLst/>
            <a:ahLst/>
            <a:cxnLst/>
            <a:rect l="l" t="t" r="r" b="b"/>
            <a:pathLst>
              <a:path w="1940560" h="4089400">
                <a:moveTo>
                  <a:pt x="1940560" y="0"/>
                </a:moveTo>
                <a:lnTo>
                  <a:pt x="0" y="0"/>
                </a:lnTo>
                <a:lnTo>
                  <a:pt x="0" y="4089400"/>
                </a:lnTo>
                <a:lnTo>
                  <a:pt x="1940560" y="4089400"/>
                </a:lnTo>
                <a:lnTo>
                  <a:pt x="194056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9" name="object 12">
            <a:extLst>
              <a:ext uri="{FF2B5EF4-FFF2-40B4-BE49-F238E27FC236}">
                <a16:creationId xmlns:a16="http://schemas.microsoft.com/office/drawing/2014/main" id="{FCCA7702-9ED4-4693-8F7F-41AB92BCF870}"/>
              </a:ext>
            </a:extLst>
          </p:cNvPr>
          <p:cNvSpPr/>
          <p:nvPr userDrawn="1"/>
        </p:nvSpPr>
        <p:spPr>
          <a:xfrm>
            <a:off x="5013488" y="1410759"/>
            <a:ext cx="2165024" cy="4545541"/>
          </a:xfrm>
          <a:custGeom>
            <a:avLst/>
            <a:gdLst/>
            <a:ahLst/>
            <a:cxnLst/>
            <a:rect l="l" t="t" r="r" b="b"/>
            <a:pathLst>
              <a:path w="1940559" h="4089400">
                <a:moveTo>
                  <a:pt x="1940560" y="0"/>
                </a:moveTo>
                <a:lnTo>
                  <a:pt x="0" y="0"/>
                </a:lnTo>
                <a:lnTo>
                  <a:pt x="0" y="4089400"/>
                </a:lnTo>
                <a:lnTo>
                  <a:pt x="1940560" y="4089400"/>
                </a:lnTo>
                <a:lnTo>
                  <a:pt x="194056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0" name="object 16">
            <a:extLst>
              <a:ext uri="{FF2B5EF4-FFF2-40B4-BE49-F238E27FC236}">
                <a16:creationId xmlns:a16="http://schemas.microsoft.com/office/drawing/2014/main" id="{EC6B8170-A1AD-4E25-8643-BAA7444FE124}"/>
              </a:ext>
            </a:extLst>
          </p:cNvPr>
          <p:cNvSpPr/>
          <p:nvPr userDrawn="1"/>
        </p:nvSpPr>
        <p:spPr>
          <a:xfrm>
            <a:off x="7323382" y="1410759"/>
            <a:ext cx="2165024" cy="4545541"/>
          </a:xfrm>
          <a:custGeom>
            <a:avLst/>
            <a:gdLst/>
            <a:ahLst/>
            <a:cxnLst/>
            <a:rect l="l" t="t" r="r" b="b"/>
            <a:pathLst>
              <a:path w="1940559" h="4089400">
                <a:moveTo>
                  <a:pt x="1940560" y="0"/>
                </a:moveTo>
                <a:lnTo>
                  <a:pt x="0" y="0"/>
                </a:lnTo>
                <a:lnTo>
                  <a:pt x="0" y="4089400"/>
                </a:lnTo>
                <a:lnTo>
                  <a:pt x="1940560" y="4089400"/>
                </a:lnTo>
                <a:lnTo>
                  <a:pt x="194056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1" name="object 21">
            <a:extLst>
              <a:ext uri="{FF2B5EF4-FFF2-40B4-BE49-F238E27FC236}">
                <a16:creationId xmlns:a16="http://schemas.microsoft.com/office/drawing/2014/main" id="{E41CA2FB-025F-4B0C-9A7D-27EB443CD2B7}"/>
              </a:ext>
            </a:extLst>
          </p:cNvPr>
          <p:cNvSpPr/>
          <p:nvPr userDrawn="1"/>
        </p:nvSpPr>
        <p:spPr>
          <a:xfrm>
            <a:off x="9633276" y="1410759"/>
            <a:ext cx="2165024" cy="4545541"/>
          </a:xfrm>
          <a:custGeom>
            <a:avLst/>
            <a:gdLst/>
            <a:ahLst/>
            <a:cxnLst/>
            <a:rect l="l" t="t" r="r" b="b"/>
            <a:pathLst>
              <a:path w="1940559" h="4089400">
                <a:moveTo>
                  <a:pt x="1940559" y="0"/>
                </a:moveTo>
                <a:lnTo>
                  <a:pt x="0" y="0"/>
                </a:lnTo>
                <a:lnTo>
                  <a:pt x="0" y="4089400"/>
                </a:lnTo>
                <a:lnTo>
                  <a:pt x="1940559" y="4089400"/>
                </a:lnTo>
                <a:lnTo>
                  <a:pt x="1940559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2" name="object 5">
            <a:extLst>
              <a:ext uri="{FF2B5EF4-FFF2-40B4-BE49-F238E27FC236}">
                <a16:creationId xmlns:a16="http://schemas.microsoft.com/office/drawing/2014/main" id="{30765675-A827-4AC3-AF54-2D90FFEA3A79}"/>
              </a:ext>
            </a:extLst>
          </p:cNvPr>
          <p:cNvSpPr/>
          <p:nvPr userDrawn="1"/>
        </p:nvSpPr>
        <p:spPr>
          <a:xfrm>
            <a:off x="789142" y="1735880"/>
            <a:ext cx="1374140" cy="1371600"/>
          </a:xfrm>
          <a:custGeom>
            <a:avLst/>
            <a:gdLst/>
            <a:ahLst/>
            <a:cxnLst/>
            <a:rect l="l" t="t" r="r" b="b"/>
            <a:pathLst>
              <a:path w="1374139" h="1371600">
                <a:moveTo>
                  <a:pt x="687069" y="0"/>
                </a:moveTo>
                <a:lnTo>
                  <a:pt x="638001" y="1722"/>
                </a:lnTo>
                <a:lnTo>
                  <a:pt x="589864" y="6811"/>
                </a:lnTo>
                <a:lnTo>
                  <a:pt x="542775" y="15151"/>
                </a:lnTo>
                <a:lnTo>
                  <a:pt x="496849" y="26625"/>
                </a:lnTo>
                <a:lnTo>
                  <a:pt x="452203" y="41118"/>
                </a:lnTo>
                <a:lnTo>
                  <a:pt x="408954" y="58514"/>
                </a:lnTo>
                <a:lnTo>
                  <a:pt x="367217" y="78696"/>
                </a:lnTo>
                <a:lnTo>
                  <a:pt x="327109" y="101548"/>
                </a:lnTo>
                <a:lnTo>
                  <a:pt x="288746" y="126954"/>
                </a:lnTo>
                <a:lnTo>
                  <a:pt x="252244" y="154798"/>
                </a:lnTo>
                <a:lnTo>
                  <a:pt x="217720" y="184964"/>
                </a:lnTo>
                <a:lnTo>
                  <a:pt x="185290" y="217336"/>
                </a:lnTo>
                <a:lnTo>
                  <a:pt x="155069" y="251798"/>
                </a:lnTo>
                <a:lnTo>
                  <a:pt x="127176" y="288233"/>
                </a:lnTo>
                <a:lnTo>
                  <a:pt x="101724" y="326525"/>
                </a:lnTo>
                <a:lnTo>
                  <a:pt x="78832" y="366559"/>
                </a:lnTo>
                <a:lnTo>
                  <a:pt x="58615" y="408218"/>
                </a:lnTo>
                <a:lnTo>
                  <a:pt x="41189" y="451386"/>
                </a:lnTo>
                <a:lnTo>
                  <a:pt x="26671" y="495947"/>
                </a:lnTo>
                <a:lnTo>
                  <a:pt x="15176" y="541785"/>
                </a:lnTo>
                <a:lnTo>
                  <a:pt x="6822" y="588784"/>
                </a:lnTo>
                <a:lnTo>
                  <a:pt x="1725" y="636828"/>
                </a:lnTo>
                <a:lnTo>
                  <a:pt x="0" y="685800"/>
                </a:lnTo>
                <a:lnTo>
                  <a:pt x="1725" y="734771"/>
                </a:lnTo>
                <a:lnTo>
                  <a:pt x="6822" y="782815"/>
                </a:lnTo>
                <a:lnTo>
                  <a:pt x="15176" y="829814"/>
                </a:lnTo>
                <a:lnTo>
                  <a:pt x="26671" y="875652"/>
                </a:lnTo>
                <a:lnTo>
                  <a:pt x="41189" y="920213"/>
                </a:lnTo>
                <a:lnTo>
                  <a:pt x="58615" y="963381"/>
                </a:lnTo>
                <a:lnTo>
                  <a:pt x="78832" y="1005040"/>
                </a:lnTo>
                <a:lnTo>
                  <a:pt x="101724" y="1045074"/>
                </a:lnTo>
                <a:lnTo>
                  <a:pt x="127176" y="1083366"/>
                </a:lnTo>
                <a:lnTo>
                  <a:pt x="155069" y="1119801"/>
                </a:lnTo>
                <a:lnTo>
                  <a:pt x="185290" y="1154263"/>
                </a:lnTo>
                <a:lnTo>
                  <a:pt x="217720" y="1186635"/>
                </a:lnTo>
                <a:lnTo>
                  <a:pt x="252244" y="1216801"/>
                </a:lnTo>
                <a:lnTo>
                  <a:pt x="288746" y="1244645"/>
                </a:lnTo>
                <a:lnTo>
                  <a:pt x="327109" y="1270051"/>
                </a:lnTo>
                <a:lnTo>
                  <a:pt x="367217" y="1292903"/>
                </a:lnTo>
                <a:lnTo>
                  <a:pt x="408954" y="1313085"/>
                </a:lnTo>
                <a:lnTo>
                  <a:pt x="452203" y="1330481"/>
                </a:lnTo>
                <a:lnTo>
                  <a:pt x="496849" y="1344974"/>
                </a:lnTo>
                <a:lnTo>
                  <a:pt x="542775" y="1356448"/>
                </a:lnTo>
                <a:lnTo>
                  <a:pt x="589864" y="1364788"/>
                </a:lnTo>
                <a:lnTo>
                  <a:pt x="638001" y="1369877"/>
                </a:lnTo>
                <a:lnTo>
                  <a:pt x="687069" y="1371600"/>
                </a:lnTo>
                <a:lnTo>
                  <a:pt x="736139" y="1369877"/>
                </a:lnTo>
                <a:lnTo>
                  <a:pt x="784278" y="1364788"/>
                </a:lnTo>
                <a:lnTo>
                  <a:pt x="831368" y="1356448"/>
                </a:lnTo>
                <a:lnTo>
                  <a:pt x="877295" y="1344974"/>
                </a:lnTo>
                <a:lnTo>
                  <a:pt x="921941" y="1330481"/>
                </a:lnTo>
                <a:lnTo>
                  <a:pt x="965191" y="1313085"/>
                </a:lnTo>
                <a:lnTo>
                  <a:pt x="1006928" y="1292903"/>
                </a:lnTo>
                <a:lnTo>
                  <a:pt x="1047036" y="1270051"/>
                </a:lnTo>
                <a:lnTo>
                  <a:pt x="1085399" y="1244645"/>
                </a:lnTo>
                <a:lnTo>
                  <a:pt x="1121900" y="1216801"/>
                </a:lnTo>
                <a:lnTo>
                  <a:pt x="1156424" y="1186635"/>
                </a:lnTo>
                <a:lnTo>
                  <a:pt x="1188854" y="1154263"/>
                </a:lnTo>
                <a:lnTo>
                  <a:pt x="1219074" y="1119801"/>
                </a:lnTo>
                <a:lnTo>
                  <a:pt x="1246967" y="1083366"/>
                </a:lnTo>
                <a:lnTo>
                  <a:pt x="1272418" y="1045074"/>
                </a:lnTo>
                <a:lnTo>
                  <a:pt x="1295309" y="1005040"/>
                </a:lnTo>
                <a:lnTo>
                  <a:pt x="1315526" y="963381"/>
                </a:lnTo>
                <a:lnTo>
                  <a:pt x="1332951" y="920213"/>
                </a:lnTo>
                <a:lnTo>
                  <a:pt x="1347469" y="875652"/>
                </a:lnTo>
                <a:lnTo>
                  <a:pt x="1358963" y="829814"/>
                </a:lnTo>
                <a:lnTo>
                  <a:pt x="1367317" y="782815"/>
                </a:lnTo>
                <a:lnTo>
                  <a:pt x="1372414" y="734771"/>
                </a:lnTo>
                <a:lnTo>
                  <a:pt x="1374139" y="685800"/>
                </a:lnTo>
                <a:lnTo>
                  <a:pt x="1372414" y="636828"/>
                </a:lnTo>
                <a:lnTo>
                  <a:pt x="1367317" y="588784"/>
                </a:lnTo>
                <a:lnTo>
                  <a:pt x="1358963" y="541785"/>
                </a:lnTo>
                <a:lnTo>
                  <a:pt x="1347469" y="495947"/>
                </a:lnTo>
                <a:lnTo>
                  <a:pt x="1332951" y="451386"/>
                </a:lnTo>
                <a:lnTo>
                  <a:pt x="1315526" y="408218"/>
                </a:lnTo>
                <a:lnTo>
                  <a:pt x="1295309" y="366559"/>
                </a:lnTo>
                <a:lnTo>
                  <a:pt x="1272418" y="326525"/>
                </a:lnTo>
                <a:lnTo>
                  <a:pt x="1246967" y="288233"/>
                </a:lnTo>
                <a:lnTo>
                  <a:pt x="1219074" y="251798"/>
                </a:lnTo>
                <a:lnTo>
                  <a:pt x="1188854" y="217336"/>
                </a:lnTo>
                <a:lnTo>
                  <a:pt x="1156424" y="184964"/>
                </a:lnTo>
                <a:lnTo>
                  <a:pt x="1121900" y="154798"/>
                </a:lnTo>
                <a:lnTo>
                  <a:pt x="1085399" y="126954"/>
                </a:lnTo>
                <a:lnTo>
                  <a:pt x="1047036" y="101548"/>
                </a:lnTo>
                <a:lnTo>
                  <a:pt x="1006928" y="78696"/>
                </a:lnTo>
                <a:lnTo>
                  <a:pt x="965191" y="58514"/>
                </a:lnTo>
                <a:lnTo>
                  <a:pt x="921941" y="41118"/>
                </a:lnTo>
                <a:lnTo>
                  <a:pt x="877295" y="26625"/>
                </a:lnTo>
                <a:lnTo>
                  <a:pt x="831368" y="15151"/>
                </a:lnTo>
                <a:lnTo>
                  <a:pt x="784278" y="6811"/>
                </a:lnTo>
                <a:lnTo>
                  <a:pt x="736139" y="1722"/>
                </a:lnTo>
                <a:lnTo>
                  <a:pt x="687069" y="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3" name="object 5">
            <a:extLst>
              <a:ext uri="{FF2B5EF4-FFF2-40B4-BE49-F238E27FC236}">
                <a16:creationId xmlns:a16="http://schemas.microsoft.com/office/drawing/2014/main" id="{45972CCF-9DDA-40BE-9E3D-5507F68C77F2}"/>
              </a:ext>
            </a:extLst>
          </p:cNvPr>
          <p:cNvSpPr/>
          <p:nvPr userDrawn="1"/>
        </p:nvSpPr>
        <p:spPr>
          <a:xfrm>
            <a:off x="3099036" y="1735880"/>
            <a:ext cx="1374140" cy="1371600"/>
          </a:xfrm>
          <a:custGeom>
            <a:avLst/>
            <a:gdLst/>
            <a:ahLst/>
            <a:cxnLst/>
            <a:rect l="l" t="t" r="r" b="b"/>
            <a:pathLst>
              <a:path w="1374139" h="1371600">
                <a:moveTo>
                  <a:pt x="687069" y="0"/>
                </a:moveTo>
                <a:lnTo>
                  <a:pt x="638001" y="1722"/>
                </a:lnTo>
                <a:lnTo>
                  <a:pt x="589864" y="6811"/>
                </a:lnTo>
                <a:lnTo>
                  <a:pt x="542775" y="15151"/>
                </a:lnTo>
                <a:lnTo>
                  <a:pt x="496849" y="26625"/>
                </a:lnTo>
                <a:lnTo>
                  <a:pt x="452203" y="41118"/>
                </a:lnTo>
                <a:lnTo>
                  <a:pt x="408954" y="58514"/>
                </a:lnTo>
                <a:lnTo>
                  <a:pt x="367217" y="78696"/>
                </a:lnTo>
                <a:lnTo>
                  <a:pt x="327109" y="101548"/>
                </a:lnTo>
                <a:lnTo>
                  <a:pt x="288746" y="126954"/>
                </a:lnTo>
                <a:lnTo>
                  <a:pt x="252244" y="154798"/>
                </a:lnTo>
                <a:lnTo>
                  <a:pt x="217720" y="184964"/>
                </a:lnTo>
                <a:lnTo>
                  <a:pt x="185290" y="217336"/>
                </a:lnTo>
                <a:lnTo>
                  <a:pt x="155069" y="251798"/>
                </a:lnTo>
                <a:lnTo>
                  <a:pt x="127176" y="288233"/>
                </a:lnTo>
                <a:lnTo>
                  <a:pt x="101724" y="326525"/>
                </a:lnTo>
                <a:lnTo>
                  <a:pt x="78832" y="366559"/>
                </a:lnTo>
                <a:lnTo>
                  <a:pt x="58615" y="408218"/>
                </a:lnTo>
                <a:lnTo>
                  <a:pt x="41189" y="451386"/>
                </a:lnTo>
                <a:lnTo>
                  <a:pt x="26671" y="495947"/>
                </a:lnTo>
                <a:lnTo>
                  <a:pt x="15176" y="541785"/>
                </a:lnTo>
                <a:lnTo>
                  <a:pt x="6822" y="588784"/>
                </a:lnTo>
                <a:lnTo>
                  <a:pt x="1725" y="636828"/>
                </a:lnTo>
                <a:lnTo>
                  <a:pt x="0" y="685800"/>
                </a:lnTo>
                <a:lnTo>
                  <a:pt x="1725" y="734771"/>
                </a:lnTo>
                <a:lnTo>
                  <a:pt x="6822" y="782815"/>
                </a:lnTo>
                <a:lnTo>
                  <a:pt x="15176" y="829814"/>
                </a:lnTo>
                <a:lnTo>
                  <a:pt x="26671" y="875652"/>
                </a:lnTo>
                <a:lnTo>
                  <a:pt x="41189" y="920213"/>
                </a:lnTo>
                <a:lnTo>
                  <a:pt x="58615" y="963381"/>
                </a:lnTo>
                <a:lnTo>
                  <a:pt x="78832" y="1005040"/>
                </a:lnTo>
                <a:lnTo>
                  <a:pt x="101724" y="1045074"/>
                </a:lnTo>
                <a:lnTo>
                  <a:pt x="127176" y="1083366"/>
                </a:lnTo>
                <a:lnTo>
                  <a:pt x="155069" y="1119801"/>
                </a:lnTo>
                <a:lnTo>
                  <a:pt x="185290" y="1154263"/>
                </a:lnTo>
                <a:lnTo>
                  <a:pt x="217720" y="1186635"/>
                </a:lnTo>
                <a:lnTo>
                  <a:pt x="252244" y="1216801"/>
                </a:lnTo>
                <a:lnTo>
                  <a:pt x="288746" y="1244645"/>
                </a:lnTo>
                <a:lnTo>
                  <a:pt x="327109" y="1270051"/>
                </a:lnTo>
                <a:lnTo>
                  <a:pt x="367217" y="1292903"/>
                </a:lnTo>
                <a:lnTo>
                  <a:pt x="408954" y="1313085"/>
                </a:lnTo>
                <a:lnTo>
                  <a:pt x="452203" y="1330481"/>
                </a:lnTo>
                <a:lnTo>
                  <a:pt x="496849" y="1344974"/>
                </a:lnTo>
                <a:lnTo>
                  <a:pt x="542775" y="1356448"/>
                </a:lnTo>
                <a:lnTo>
                  <a:pt x="589864" y="1364788"/>
                </a:lnTo>
                <a:lnTo>
                  <a:pt x="638001" y="1369877"/>
                </a:lnTo>
                <a:lnTo>
                  <a:pt x="687069" y="1371600"/>
                </a:lnTo>
                <a:lnTo>
                  <a:pt x="736139" y="1369877"/>
                </a:lnTo>
                <a:lnTo>
                  <a:pt x="784278" y="1364788"/>
                </a:lnTo>
                <a:lnTo>
                  <a:pt x="831368" y="1356448"/>
                </a:lnTo>
                <a:lnTo>
                  <a:pt x="877295" y="1344974"/>
                </a:lnTo>
                <a:lnTo>
                  <a:pt x="921941" y="1330481"/>
                </a:lnTo>
                <a:lnTo>
                  <a:pt x="965191" y="1313085"/>
                </a:lnTo>
                <a:lnTo>
                  <a:pt x="1006928" y="1292903"/>
                </a:lnTo>
                <a:lnTo>
                  <a:pt x="1047036" y="1270051"/>
                </a:lnTo>
                <a:lnTo>
                  <a:pt x="1085399" y="1244645"/>
                </a:lnTo>
                <a:lnTo>
                  <a:pt x="1121900" y="1216801"/>
                </a:lnTo>
                <a:lnTo>
                  <a:pt x="1156424" y="1186635"/>
                </a:lnTo>
                <a:lnTo>
                  <a:pt x="1188854" y="1154263"/>
                </a:lnTo>
                <a:lnTo>
                  <a:pt x="1219074" y="1119801"/>
                </a:lnTo>
                <a:lnTo>
                  <a:pt x="1246967" y="1083366"/>
                </a:lnTo>
                <a:lnTo>
                  <a:pt x="1272418" y="1045074"/>
                </a:lnTo>
                <a:lnTo>
                  <a:pt x="1295309" y="1005040"/>
                </a:lnTo>
                <a:lnTo>
                  <a:pt x="1315526" y="963381"/>
                </a:lnTo>
                <a:lnTo>
                  <a:pt x="1332951" y="920213"/>
                </a:lnTo>
                <a:lnTo>
                  <a:pt x="1347469" y="875652"/>
                </a:lnTo>
                <a:lnTo>
                  <a:pt x="1358963" y="829814"/>
                </a:lnTo>
                <a:lnTo>
                  <a:pt x="1367317" y="782815"/>
                </a:lnTo>
                <a:lnTo>
                  <a:pt x="1372414" y="734771"/>
                </a:lnTo>
                <a:lnTo>
                  <a:pt x="1374139" y="685800"/>
                </a:lnTo>
                <a:lnTo>
                  <a:pt x="1372414" y="636828"/>
                </a:lnTo>
                <a:lnTo>
                  <a:pt x="1367317" y="588784"/>
                </a:lnTo>
                <a:lnTo>
                  <a:pt x="1358963" y="541785"/>
                </a:lnTo>
                <a:lnTo>
                  <a:pt x="1347469" y="495947"/>
                </a:lnTo>
                <a:lnTo>
                  <a:pt x="1332951" y="451386"/>
                </a:lnTo>
                <a:lnTo>
                  <a:pt x="1315526" y="408218"/>
                </a:lnTo>
                <a:lnTo>
                  <a:pt x="1295309" y="366559"/>
                </a:lnTo>
                <a:lnTo>
                  <a:pt x="1272418" y="326525"/>
                </a:lnTo>
                <a:lnTo>
                  <a:pt x="1246967" y="288233"/>
                </a:lnTo>
                <a:lnTo>
                  <a:pt x="1219074" y="251798"/>
                </a:lnTo>
                <a:lnTo>
                  <a:pt x="1188854" y="217336"/>
                </a:lnTo>
                <a:lnTo>
                  <a:pt x="1156424" y="184964"/>
                </a:lnTo>
                <a:lnTo>
                  <a:pt x="1121900" y="154798"/>
                </a:lnTo>
                <a:lnTo>
                  <a:pt x="1085399" y="126954"/>
                </a:lnTo>
                <a:lnTo>
                  <a:pt x="1047036" y="101548"/>
                </a:lnTo>
                <a:lnTo>
                  <a:pt x="1006928" y="78696"/>
                </a:lnTo>
                <a:lnTo>
                  <a:pt x="965191" y="58514"/>
                </a:lnTo>
                <a:lnTo>
                  <a:pt x="921941" y="41118"/>
                </a:lnTo>
                <a:lnTo>
                  <a:pt x="877295" y="26625"/>
                </a:lnTo>
                <a:lnTo>
                  <a:pt x="831368" y="15151"/>
                </a:lnTo>
                <a:lnTo>
                  <a:pt x="784278" y="6811"/>
                </a:lnTo>
                <a:lnTo>
                  <a:pt x="736139" y="1722"/>
                </a:lnTo>
                <a:lnTo>
                  <a:pt x="687069" y="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4" name="object 5">
            <a:extLst>
              <a:ext uri="{FF2B5EF4-FFF2-40B4-BE49-F238E27FC236}">
                <a16:creationId xmlns:a16="http://schemas.microsoft.com/office/drawing/2014/main" id="{9482A2AF-390D-41B1-8B13-FA8A4D83831D}"/>
              </a:ext>
            </a:extLst>
          </p:cNvPr>
          <p:cNvSpPr/>
          <p:nvPr userDrawn="1"/>
        </p:nvSpPr>
        <p:spPr>
          <a:xfrm>
            <a:off x="5408930" y="1735880"/>
            <a:ext cx="1374140" cy="1371600"/>
          </a:xfrm>
          <a:custGeom>
            <a:avLst/>
            <a:gdLst/>
            <a:ahLst/>
            <a:cxnLst/>
            <a:rect l="l" t="t" r="r" b="b"/>
            <a:pathLst>
              <a:path w="1374139" h="1371600">
                <a:moveTo>
                  <a:pt x="687069" y="0"/>
                </a:moveTo>
                <a:lnTo>
                  <a:pt x="638001" y="1722"/>
                </a:lnTo>
                <a:lnTo>
                  <a:pt x="589864" y="6811"/>
                </a:lnTo>
                <a:lnTo>
                  <a:pt x="542775" y="15151"/>
                </a:lnTo>
                <a:lnTo>
                  <a:pt x="496849" y="26625"/>
                </a:lnTo>
                <a:lnTo>
                  <a:pt x="452203" y="41118"/>
                </a:lnTo>
                <a:lnTo>
                  <a:pt x="408954" y="58514"/>
                </a:lnTo>
                <a:lnTo>
                  <a:pt x="367217" y="78696"/>
                </a:lnTo>
                <a:lnTo>
                  <a:pt x="327109" y="101548"/>
                </a:lnTo>
                <a:lnTo>
                  <a:pt x="288746" y="126954"/>
                </a:lnTo>
                <a:lnTo>
                  <a:pt x="252244" y="154798"/>
                </a:lnTo>
                <a:lnTo>
                  <a:pt x="217720" y="184964"/>
                </a:lnTo>
                <a:lnTo>
                  <a:pt x="185290" y="217336"/>
                </a:lnTo>
                <a:lnTo>
                  <a:pt x="155069" y="251798"/>
                </a:lnTo>
                <a:lnTo>
                  <a:pt x="127176" y="288233"/>
                </a:lnTo>
                <a:lnTo>
                  <a:pt x="101724" y="326525"/>
                </a:lnTo>
                <a:lnTo>
                  <a:pt x="78832" y="366559"/>
                </a:lnTo>
                <a:lnTo>
                  <a:pt x="58615" y="408218"/>
                </a:lnTo>
                <a:lnTo>
                  <a:pt x="41189" y="451386"/>
                </a:lnTo>
                <a:lnTo>
                  <a:pt x="26671" y="495947"/>
                </a:lnTo>
                <a:lnTo>
                  <a:pt x="15176" y="541785"/>
                </a:lnTo>
                <a:lnTo>
                  <a:pt x="6822" y="588784"/>
                </a:lnTo>
                <a:lnTo>
                  <a:pt x="1725" y="636828"/>
                </a:lnTo>
                <a:lnTo>
                  <a:pt x="0" y="685800"/>
                </a:lnTo>
                <a:lnTo>
                  <a:pt x="1725" y="734771"/>
                </a:lnTo>
                <a:lnTo>
                  <a:pt x="6822" y="782815"/>
                </a:lnTo>
                <a:lnTo>
                  <a:pt x="15176" y="829814"/>
                </a:lnTo>
                <a:lnTo>
                  <a:pt x="26671" y="875652"/>
                </a:lnTo>
                <a:lnTo>
                  <a:pt x="41189" y="920213"/>
                </a:lnTo>
                <a:lnTo>
                  <a:pt x="58615" y="963381"/>
                </a:lnTo>
                <a:lnTo>
                  <a:pt x="78832" y="1005040"/>
                </a:lnTo>
                <a:lnTo>
                  <a:pt x="101724" y="1045074"/>
                </a:lnTo>
                <a:lnTo>
                  <a:pt x="127176" y="1083366"/>
                </a:lnTo>
                <a:lnTo>
                  <a:pt x="155069" y="1119801"/>
                </a:lnTo>
                <a:lnTo>
                  <a:pt x="185290" y="1154263"/>
                </a:lnTo>
                <a:lnTo>
                  <a:pt x="217720" y="1186635"/>
                </a:lnTo>
                <a:lnTo>
                  <a:pt x="252244" y="1216801"/>
                </a:lnTo>
                <a:lnTo>
                  <a:pt x="288746" y="1244645"/>
                </a:lnTo>
                <a:lnTo>
                  <a:pt x="327109" y="1270051"/>
                </a:lnTo>
                <a:lnTo>
                  <a:pt x="367217" y="1292903"/>
                </a:lnTo>
                <a:lnTo>
                  <a:pt x="408954" y="1313085"/>
                </a:lnTo>
                <a:lnTo>
                  <a:pt x="452203" y="1330481"/>
                </a:lnTo>
                <a:lnTo>
                  <a:pt x="496849" y="1344974"/>
                </a:lnTo>
                <a:lnTo>
                  <a:pt x="542775" y="1356448"/>
                </a:lnTo>
                <a:lnTo>
                  <a:pt x="589864" y="1364788"/>
                </a:lnTo>
                <a:lnTo>
                  <a:pt x="638001" y="1369877"/>
                </a:lnTo>
                <a:lnTo>
                  <a:pt x="687069" y="1371600"/>
                </a:lnTo>
                <a:lnTo>
                  <a:pt x="736139" y="1369877"/>
                </a:lnTo>
                <a:lnTo>
                  <a:pt x="784278" y="1364788"/>
                </a:lnTo>
                <a:lnTo>
                  <a:pt x="831368" y="1356448"/>
                </a:lnTo>
                <a:lnTo>
                  <a:pt x="877295" y="1344974"/>
                </a:lnTo>
                <a:lnTo>
                  <a:pt x="921941" y="1330481"/>
                </a:lnTo>
                <a:lnTo>
                  <a:pt x="965191" y="1313085"/>
                </a:lnTo>
                <a:lnTo>
                  <a:pt x="1006928" y="1292903"/>
                </a:lnTo>
                <a:lnTo>
                  <a:pt x="1047036" y="1270051"/>
                </a:lnTo>
                <a:lnTo>
                  <a:pt x="1085399" y="1244645"/>
                </a:lnTo>
                <a:lnTo>
                  <a:pt x="1121900" y="1216801"/>
                </a:lnTo>
                <a:lnTo>
                  <a:pt x="1156424" y="1186635"/>
                </a:lnTo>
                <a:lnTo>
                  <a:pt x="1188854" y="1154263"/>
                </a:lnTo>
                <a:lnTo>
                  <a:pt x="1219074" y="1119801"/>
                </a:lnTo>
                <a:lnTo>
                  <a:pt x="1246967" y="1083366"/>
                </a:lnTo>
                <a:lnTo>
                  <a:pt x="1272418" y="1045074"/>
                </a:lnTo>
                <a:lnTo>
                  <a:pt x="1295309" y="1005040"/>
                </a:lnTo>
                <a:lnTo>
                  <a:pt x="1315526" y="963381"/>
                </a:lnTo>
                <a:lnTo>
                  <a:pt x="1332951" y="920213"/>
                </a:lnTo>
                <a:lnTo>
                  <a:pt x="1347469" y="875652"/>
                </a:lnTo>
                <a:lnTo>
                  <a:pt x="1358963" y="829814"/>
                </a:lnTo>
                <a:lnTo>
                  <a:pt x="1367317" y="782815"/>
                </a:lnTo>
                <a:lnTo>
                  <a:pt x="1372414" y="734771"/>
                </a:lnTo>
                <a:lnTo>
                  <a:pt x="1374139" y="685800"/>
                </a:lnTo>
                <a:lnTo>
                  <a:pt x="1372414" y="636828"/>
                </a:lnTo>
                <a:lnTo>
                  <a:pt x="1367317" y="588784"/>
                </a:lnTo>
                <a:lnTo>
                  <a:pt x="1358963" y="541785"/>
                </a:lnTo>
                <a:lnTo>
                  <a:pt x="1347469" y="495947"/>
                </a:lnTo>
                <a:lnTo>
                  <a:pt x="1332951" y="451386"/>
                </a:lnTo>
                <a:lnTo>
                  <a:pt x="1315526" y="408218"/>
                </a:lnTo>
                <a:lnTo>
                  <a:pt x="1295309" y="366559"/>
                </a:lnTo>
                <a:lnTo>
                  <a:pt x="1272418" y="326525"/>
                </a:lnTo>
                <a:lnTo>
                  <a:pt x="1246967" y="288233"/>
                </a:lnTo>
                <a:lnTo>
                  <a:pt x="1219074" y="251798"/>
                </a:lnTo>
                <a:lnTo>
                  <a:pt x="1188854" y="217336"/>
                </a:lnTo>
                <a:lnTo>
                  <a:pt x="1156424" y="184964"/>
                </a:lnTo>
                <a:lnTo>
                  <a:pt x="1121900" y="154798"/>
                </a:lnTo>
                <a:lnTo>
                  <a:pt x="1085399" y="126954"/>
                </a:lnTo>
                <a:lnTo>
                  <a:pt x="1047036" y="101548"/>
                </a:lnTo>
                <a:lnTo>
                  <a:pt x="1006928" y="78696"/>
                </a:lnTo>
                <a:lnTo>
                  <a:pt x="965191" y="58514"/>
                </a:lnTo>
                <a:lnTo>
                  <a:pt x="921941" y="41118"/>
                </a:lnTo>
                <a:lnTo>
                  <a:pt x="877295" y="26625"/>
                </a:lnTo>
                <a:lnTo>
                  <a:pt x="831368" y="15151"/>
                </a:lnTo>
                <a:lnTo>
                  <a:pt x="784278" y="6811"/>
                </a:lnTo>
                <a:lnTo>
                  <a:pt x="736139" y="1722"/>
                </a:lnTo>
                <a:lnTo>
                  <a:pt x="687069" y="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5" name="object 5">
            <a:extLst>
              <a:ext uri="{FF2B5EF4-FFF2-40B4-BE49-F238E27FC236}">
                <a16:creationId xmlns:a16="http://schemas.microsoft.com/office/drawing/2014/main" id="{9B8DFAA2-BEF3-46BA-A22C-B68815CABCC9}"/>
              </a:ext>
            </a:extLst>
          </p:cNvPr>
          <p:cNvSpPr/>
          <p:nvPr userDrawn="1"/>
        </p:nvSpPr>
        <p:spPr>
          <a:xfrm>
            <a:off x="7718824" y="1735880"/>
            <a:ext cx="1374140" cy="1371600"/>
          </a:xfrm>
          <a:custGeom>
            <a:avLst/>
            <a:gdLst/>
            <a:ahLst/>
            <a:cxnLst/>
            <a:rect l="l" t="t" r="r" b="b"/>
            <a:pathLst>
              <a:path w="1374139" h="1371600">
                <a:moveTo>
                  <a:pt x="687069" y="0"/>
                </a:moveTo>
                <a:lnTo>
                  <a:pt x="638001" y="1722"/>
                </a:lnTo>
                <a:lnTo>
                  <a:pt x="589864" y="6811"/>
                </a:lnTo>
                <a:lnTo>
                  <a:pt x="542775" y="15151"/>
                </a:lnTo>
                <a:lnTo>
                  <a:pt x="496849" y="26625"/>
                </a:lnTo>
                <a:lnTo>
                  <a:pt x="452203" y="41118"/>
                </a:lnTo>
                <a:lnTo>
                  <a:pt x="408954" y="58514"/>
                </a:lnTo>
                <a:lnTo>
                  <a:pt x="367217" y="78696"/>
                </a:lnTo>
                <a:lnTo>
                  <a:pt x="327109" y="101548"/>
                </a:lnTo>
                <a:lnTo>
                  <a:pt x="288746" y="126954"/>
                </a:lnTo>
                <a:lnTo>
                  <a:pt x="252244" y="154798"/>
                </a:lnTo>
                <a:lnTo>
                  <a:pt x="217720" y="184964"/>
                </a:lnTo>
                <a:lnTo>
                  <a:pt x="185290" y="217336"/>
                </a:lnTo>
                <a:lnTo>
                  <a:pt x="155069" y="251798"/>
                </a:lnTo>
                <a:lnTo>
                  <a:pt x="127176" y="288233"/>
                </a:lnTo>
                <a:lnTo>
                  <a:pt x="101724" y="326525"/>
                </a:lnTo>
                <a:lnTo>
                  <a:pt x="78832" y="366559"/>
                </a:lnTo>
                <a:lnTo>
                  <a:pt x="58615" y="408218"/>
                </a:lnTo>
                <a:lnTo>
                  <a:pt x="41189" y="451386"/>
                </a:lnTo>
                <a:lnTo>
                  <a:pt x="26671" y="495947"/>
                </a:lnTo>
                <a:lnTo>
                  <a:pt x="15176" y="541785"/>
                </a:lnTo>
                <a:lnTo>
                  <a:pt x="6822" y="588784"/>
                </a:lnTo>
                <a:lnTo>
                  <a:pt x="1725" y="636828"/>
                </a:lnTo>
                <a:lnTo>
                  <a:pt x="0" y="685800"/>
                </a:lnTo>
                <a:lnTo>
                  <a:pt x="1725" y="734771"/>
                </a:lnTo>
                <a:lnTo>
                  <a:pt x="6822" y="782815"/>
                </a:lnTo>
                <a:lnTo>
                  <a:pt x="15176" y="829814"/>
                </a:lnTo>
                <a:lnTo>
                  <a:pt x="26671" y="875652"/>
                </a:lnTo>
                <a:lnTo>
                  <a:pt x="41189" y="920213"/>
                </a:lnTo>
                <a:lnTo>
                  <a:pt x="58615" y="963381"/>
                </a:lnTo>
                <a:lnTo>
                  <a:pt x="78832" y="1005040"/>
                </a:lnTo>
                <a:lnTo>
                  <a:pt x="101724" y="1045074"/>
                </a:lnTo>
                <a:lnTo>
                  <a:pt x="127176" y="1083366"/>
                </a:lnTo>
                <a:lnTo>
                  <a:pt x="155069" y="1119801"/>
                </a:lnTo>
                <a:lnTo>
                  <a:pt x="185290" y="1154263"/>
                </a:lnTo>
                <a:lnTo>
                  <a:pt x="217720" y="1186635"/>
                </a:lnTo>
                <a:lnTo>
                  <a:pt x="252244" y="1216801"/>
                </a:lnTo>
                <a:lnTo>
                  <a:pt x="288746" y="1244645"/>
                </a:lnTo>
                <a:lnTo>
                  <a:pt x="327109" y="1270051"/>
                </a:lnTo>
                <a:lnTo>
                  <a:pt x="367217" y="1292903"/>
                </a:lnTo>
                <a:lnTo>
                  <a:pt x="408954" y="1313085"/>
                </a:lnTo>
                <a:lnTo>
                  <a:pt x="452203" y="1330481"/>
                </a:lnTo>
                <a:lnTo>
                  <a:pt x="496849" y="1344974"/>
                </a:lnTo>
                <a:lnTo>
                  <a:pt x="542775" y="1356448"/>
                </a:lnTo>
                <a:lnTo>
                  <a:pt x="589864" y="1364788"/>
                </a:lnTo>
                <a:lnTo>
                  <a:pt x="638001" y="1369877"/>
                </a:lnTo>
                <a:lnTo>
                  <a:pt x="687069" y="1371600"/>
                </a:lnTo>
                <a:lnTo>
                  <a:pt x="736139" y="1369877"/>
                </a:lnTo>
                <a:lnTo>
                  <a:pt x="784278" y="1364788"/>
                </a:lnTo>
                <a:lnTo>
                  <a:pt x="831368" y="1356448"/>
                </a:lnTo>
                <a:lnTo>
                  <a:pt x="877295" y="1344974"/>
                </a:lnTo>
                <a:lnTo>
                  <a:pt x="921941" y="1330481"/>
                </a:lnTo>
                <a:lnTo>
                  <a:pt x="965191" y="1313085"/>
                </a:lnTo>
                <a:lnTo>
                  <a:pt x="1006928" y="1292903"/>
                </a:lnTo>
                <a:lnTo>
                  <a:pt x="1047036" y="1270051"/>
                </a:lnTo>
                <a:lnTo>
                  <a:pt x="1085399" y="1244645"/>
                </a:lnTo>
                <a:lnTo>
                  <a:pt x="1121900" y="1216801"/>
                </a:lnTo>
                <a:lnTo>
                  <a:pt x="1156424" y="1186635"/>
                </a:lnTo>
                <a:lnTo>
                  <a:pt x="1188854" y="1154263"/>
                </a:lnTo>
                <a:lnTo>
                  <a:pt x="1219074" y="1119801"/>
                </a:lnTo>
                <a:lnTo>
                  <a:pt x="1246967" y="1083366"/>
                </a:lnTo>
                <a:lnTo>
                  <a:pt x="1272418" y="1045074"/>
                </a:lnTo>
                <a:lnTo>
                  <a:pt x="1295309" y="1005040"/>
                </a:lnTo>
                <a:lnTo>
                  <a:pt x="1315526" y="963381"/>
                </a:lnTo>
                <a:lnTo>
                  <a:pt x="1332951" y="920213"/>
                </a:lnTo>
                <a:lnTo>
                  <a:pt x="1347469" y="875652"/>
                </a:lnTo>
                <a:lnTo>
                  <a:pt x="1358963" y="829814"/>
                </a:lnTo>
                <a:lnTo>
                  <a:pt x="1367317" y="782815"/>
                </a:lnTo>
                <a:lnTo>
                  <a:pt x="1372414" y="734771"/>
                </a:lnTo>
                <a:lnTo>
                  <a:pt x="1374139" y="685800"/>
                </a:lnTo>
                <a:lnTo>
                  <a:pt x="1372414" y="636828"/>
                </a:lnTo>
                <a:lnTo>
                  <a:pt x="1367317" y="588784"/>
                </a:lnTo>
                <a:lnTo>
                  <a:pt x="1358963" y="541785"/>
                </a:lnTo>
                <a:lnTo>
                  <a:pt x="1347469" y="495947"/>
                </a:lnTo>
                <a:lnTo>
                  <a:pt x="1332951" y="451386"/>
                </a:lnTo>
                <a:lnTo>
                  <a:pt x="1315526" y="408218"/>
                </a:lnTo>
                <a:lnTo>
                  <a:pt x="1295309" y="366559"/>
                </a:lnTo>
                <a:lnTo>
                  <a:pt x="1272418" y="326525"/>
                </a:lnTo>
                <a:lnTo>
                  <a:pt x="1246967" y="288233"/>
                </a:lnTo>
                <a:lnTo>
                  <a:pt x="1219074" y="251798"/>
                </a:lnTo>
                <a:lnTo>
                  <a:pt x="1188854" y="217336"/>
                </a:lnTo>
                <a:lnTo>
                  <a:pt x="1156424" y="184964"/>
                </a:lnTo>
                <a:lnTo>
                  <a:pt x="1121900" y="154798"/>
                </a:lnTo>
                <a:lnTo>
                  <a:pt x="1085399" y="126954"/>
                </a:lnTo>
                <a:lnTo>
                  <a:pt x="1047036" y="101548"/>
                </a:lnTo>
                <a:lnTo>
                  <a:pt x="1006928" y="78696"/>
                </a:lnTo>
                <a:lnTo>
                  <a:pt x="965191" y="58514"/>
                </a:lnTo>
                <a:lnTo>
                  <a:pt x="921941" y="41118"/>
                </a:lnTo>
                <a:lnTo>
                  <a:pt x="877295" y="26625"/>
                </a:lnTo>
                <a:lnTo>
                  <a:pt x="831368" y="15151"/>
                </a:lnTo>
                <a:lnTo>
                  <a:pt x="784278" y="6811"/>
                </a:lnTo>
                <a:lnTo>
                  <a:pt x="736139" y="1722"/>
                </a:lnTo>
                <a:lnTo>
                  <a:pt x="687069" y="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3" name="object 5">
            <a:extLst>
              <a:ext uri="{FF2B5EF4-FFF2-40B4-BE49-F238E27FC236}">
                <a16:creationId xmlns:a16="http://schemas.microsoft.com/office/drawing/2014/main" id="{6DDACF7B-4263-4345-9610-8445F4B15D83}"/>
              </a:ext>
            </a:extLst>
          </p:cNvPr>
          <p:cNvSpPr/>
          <p:nvPr userDrawn="1"/>
        </p:nvSpPr>
        <p:spPr>
          <a:xfrm>
            <a:off x="10028718" y="1735880"/>
            <a:ext cx="1374140" cy="1371600"/>
          </a:xfrm>
          <a:custGeom>
            <a:avLst/>
            <a:gdLst/>
            <a:ahLst/>
            <a:cxnLst/>
            <a:rect l="l" t="t" r="r" b="b"/>
            <a:pathLst>
              <a:path w="1374139" h="1371600">
                <a:moveTo>
                  <a:pt x="687069" y="0"/>
                </a:moveTo>
                <a:lnTo>
                  <a:pt x="638001" y="1722"/>
                </a:lnTo>
                <a:lnTo>
                  <a:pt x="589864" y="6811"/>
                </a:lnTo>
                <a:lnTo>
                  <a:pt x="542775" y="15151"/>
                </a:lnTo>
                <a:lnTo>
                  <a:pt x="496849" y="26625"/>
                </a:lnTo>
                <a:lnTo>
                  <a:pt x="452203" y="41118"/>
                </a:lnTo>
                <a:lnTo>
                  <a:pt x="408954" y="58514"/>
                </a:lnTo>
                <a:lnTo>
                  <a:pt x="367217" y="78696"/>
                </a:lnTo>
                <a:lnTo>
                  <a:pt x="327109" y="101548"/>
                </a:lnTo>
                <a:lnTo>
                  <a:pt x="288746" y="126954"/>
                </a:lnTo>
                <a:lnTo>
                  <a:pt x="252244" y="154798"/>
                </a:lnTo>
                <a:lnTo>
                  <a:pt x="217720" y="184964"/>
                </a:lnTo>
                <a:lnTo>
                  <a:pt x="185290" y="217336"/>
                </a:lnTo>
                <a:lnTo>
                  <a:pt x="155069" y="251798"/>
                </a:lnTo>
                <a:lnTo>
                  <a:pt x="127176" y="288233"/>
                </a:lnTo>
                <a:lnTo>
                  <a:pt x="101724" y="326525"/>
                </a:lnTo>
                <a:lnTo>
                  <a:pt x="78832" y="366559"/>
                </a:lnTo>
                <a:lnTo>
                  <a:pt x="58615" y="408218"/>
                </a:lnTo>
                <a:lnTo>
                  <a:pt x="41189" y="451386"/>
                </a:lnTo>
                <a:lnTo>
                  <a:pt x="26671" y="495947"/>
                </a:lnTo>
                <a:lnTo>
                  <a:pt x="15176" y="541785"/>
                </a:lnTo>
                <a:lnTo>
                  <a:pt x="6822" y="588784"/>
                </a:lnTo>
                <a:lnTo>
                  <a:pt x="1725" y="636828"/>
                </a:lnTo>
                <a:lnTo>
                  <a:pt x="0" y="685800"/>
                </a:lnTo>
                <a:lnTo>
                  <a:pt x="1725" y="734771"/>
                </a:lnTo>
                <a:lnTo>
                  <a:pt x="6822" y="782815"/>
                </a:lnTo>
                <a:lnTo>
                  <a:pt x="15176" y="829814"/>
                </a:lnTo>
                <a:lnTo>
                  <a:pt x="26671" y="875652"/>
                </a:lnTo>
                <a:lnTo>
                  <a:pt x="41189" y="920213"/>
                </a:lnTo>
                <a:lnTo>
                  <a:pt x="58615" y="963381"/>
                </a:lnTo>
                <a:lnTo>
                  <a:pt x="78832" y="1005040"/>
                </a:lnTo>
                <a:lnTo>
                  <a:pt x="101724" y="1045074"/>
                </a:lnTo>
                <a:lnTo>
                  <a:pt x="127176" y="1083366"/>
                </a:lnTo>
                <a:lnTo>
                  <a:pt x="155069" y="1119801"/>
                </a:lnTo>
                <a:lnTo>
                  <a:pt x="185290" y="1154263"/>
                </a:lnTo>
                <a:lnTo>
                  <a:pt x="217720" y="1186635"/>
                </a:lnTo>
                <a:lnTo>
                  <a:pt x="252244" y="1216801"/>
                </a:lnTo>
                <a:lnTo>
                  <a:pt x="288746" y="1244645"/>
                </a:lnTo>
                <a:lnTo>
                  <a:pt x="327109" y="1270051"/>
                </a:lnTo>
                <a:lnTo>
                  <a:pt x="367217" y="1292903"/>
                </a:lnTo>
                <a:lnTo>
                  <a:pt x="408954" y="1313085"/>
                </a:lnTo>
                <a:lnTo>
                  <a:pt x="452203" y="1330481"/>
                </a:lnTo>
                <a:lnTo>
                  <a:pt x="496849" y="1344974"/>
                </a:lnTo>
                <a:lnTo>
                  <a:pt x="542775" y="1356448"/>
                </a:lnTo>
                <a:lnTo>
                  <a:pt x="589864" y="1364788"/>
                </a:lnTo>
                <a:lnTo>
                  <a:pt x="638001" y="1369877"/>
                </a:lnTo>
                <a:lnTo>
                  <a:pt x="687069" y="1371600"/>
                </a:lnTo>
                <a:lnTo>
                  <a:pt x="736139" y="1369877"/>
                </a:lnTo>
                <a:lnTo>
                  <a:pt x="784278" y="1364788"/>
                </a:lnTo>
                <a:lnTo>
                  <a:pt x="831368" y="1356448"/>
                </a:lnTo>
                <a:lnTo>
                  <a:pt x="877295" y="1344974"/>
                </a:lnTo>
                <a:lnTo>
                  <a:pt x="921941" y="1330481"/>
                </a:lnTo>
                <a:lnTo>
                  <a:pt x="965191" y="1313085"/>
                </a:lnTo>
                <a:lnTo>
                  <a:pt x="1006928" y="1292903"/>
                </a:lnTo>
                <a:lnTo>
                  <a:pt x="1047036" y="1270051"/>
                </a:lnTo>
                <a:lnTo>
                  <a:pt x="1085399" y="1244645"/>
                </a:lnTo>
                <a:lnTo>
                  <a:pt x="1121900" y="1216801"/>
                </a:lnTo>
                <a:lnTo>
                  <a:pt x="1156424" y="1186635"/>
                </a:lnTo>
                <a:lnTo>
                  <a:pt x="1188854" y="1154263"/>
                </a:lnTo>
                <a:lnTo>
                  <a:pt x="1219074" y="1119801"/>
                </a:lnTo>
                <a:lnTo>
                  <a:pt x="1246967" y="1083366"/>
                </a:lnTo>
                <a:lnTo>
                  <a:pt x="1272418" y="1045074"/>
                </a:lnTo>
                <a:lnTo>
                  <a:pt x="1295309" y="1005040"/>
                </a:lnTo>
                <a:lnTo>
                  <a:pt x="1315526" y="963381"/>
                </a:lnTo>
                <a:lnTo>
                  <a:pt x="1332951" y="920213"/>
                </a:lnTo>
                <a:lnTo>
                  <a:pt x="1347469" y="875652"/>
                </a:lnTo>
                <a:lnTo>
                  <a:pt x="1358963" y="829814"/>
                </a:lnTo>
                <a:lnTo>
                  <a:pt x="1367317" y="782815"/>
                </a:lnTo>
                <a:lnTo>
                  <a:pt x="1372414" y="734771"/>
                </a:lnTo>
                <a:lnTo>
                  <a:pt x="1374139" y="685800"/>
                </a:lnTo>
                <a:lnTo>
                  <a:pt x="1372414" y="636828"/>
                </a:lnTo>
                <a:lnTo>
                  <a:pt x="1367317" y="588784"/>
                </a:lnTo>
                <a:lnTo>
                  <a:pt x="1358963" y="541785"/>
                </a:lnTo>
                <a:lnTo>
                  <a:pt x="1347469" y="495947"/>
                </a:lnTo>
                <a:lnTo>
                  <a:pt x="1332951" y="451386"/>
                </a:lnTo>
                <a:lnTo>
                  <a:pt x="1315526" y="408218"/>
                </a:lnTo>
                <a:lnTo>
                  <a:pt x="1295309" y="366559"/>
                </a:lnTo>
                <a:lnTo>
                  <a:pt x="1272418" y="326525"/>
                </a:lnTo>
                <a:lnTo>
                  <a:pt x="1246967" y="288233"/>
                </a:lnTo>
                <a:lnTo>
                  <a:pt x="1219074" y="251798"/>
                </a:lnTo>
                <a:lnTo>
                  <a:pt x="1188854" y="217336"/>
                </a:lnTo>
                <a:lnTo>
                  <a:pt x="1156424" y="184964"/>
                </a:lnTo>
                <a:lnTo>
                  <a:pt x="1121900" y="154798"/>
                </a:lnTo>
                <a:lnTo>
                  <a:pt x="1085399" y="126954"/>
                </a:lnTo>
                <a:lnTo>
                  <a:pt x="1047036" y="101548"/>
                </a:lnTo>
                <a:lnTo>
                  <a:pt x="1006928" y="78696"/>
                </a:lnTo>
                <a:lnTo>
                  <a:pt x="965191" y="58514"/>
                </a:lnTo>
                <a:lnTo>
                  <a:pt x="921941" y="41118"/>
                </a:lnTo>
                <a:lnTo>
                  <a:pt x="877295" y="26625"/>
                </a:lnTo>
                <a:lnTo>
                  <a:pt x="831368" y="15151"/>
                </a:lnTo>
                <a:lnTo>
                  <a:pt x="784278" y="6811"/>
                </a:lnTo>
                <a:lnTo>
                  <a:pt x="736139" y="1722"/>
                </a:lnTo>
                <a:lnTo>
                  <a:pt x="687069" y="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2C89AD4-6F28-4F9F-8673-14E3B1B86326}"/>
              </a:ext>
            </a:extLst>
          </p:cNvPr>
          <p:cNvCxnSpPr>
            <a:cxnSpLocks/>
          </p:cNvCxnSpPr>
          <p:nvPr userDrawn="1"/>
        </p:nvCxnSpPr>
        <p:spPr>
          <a:xfrm>
            <a:off x="542762" y="3733800"/>
            <a:ext cx="18669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 Placeholder 17">
            <a:extLst>
              <a:ext uri="{FF2B5EF4-FFF2-40B4-BE49-F238E27FC236}">
                <a16:creationId xmlns:a16="http://schemas.microsoft.com/office/drawing/2014/main" id="{4CE8F492-CF37-4BEB-B6E7-D6DAA48C7A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2762" y="3403600"/>
            <a:ext cx="18669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5" name="Text Placeholder 17">
            <a:extLst>
              <a:ext uri="{FF2B5EF4-FFF2-40B4-BE49-F238E27FC236}">
                <a16:creationId xmlns:a16="http://schemas.microsoft.com/office/drawing/2014/main" id="{258C5979-AAF8-4DCF-8D8B-D598395C412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2762" y="3800149"/>
            <a:ext cx="1866900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31F5DE03-2138-4DB9-A9C8-5AD3D7CB9F4B}"/>
              </a:ext>
            </a:extLst>
          </p:cNvPr>
          <p:cNvCxnSpPr>
            <a:cxnSpLocks/>
          </p:cNvCxnSpPr>
          <p:nvPr userDrawn="1"/>
        </p:nvCxnSpPr>
        <p:spPr>
          <a:xfrm>
            <a:off x="2852656" y="3733800"/>
            <a:ext cx="18669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 17">
            <a:extLst>
              <a:ext uri="{FF2B5EF4-FFF2-40B4-BE49-F238E27FC236}">
                <a16:creationId xmlns:a16="http://schemas.microsoft.com/office/drawing/2014/main" id="{CBD634CD-7450-4642-8C60-302F315AFE5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52656" y="3403600"/>
            <a:ext cx="18669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8" name="Text Placeholder 17">
            <a:extLst>
              <a:ext uri="{FF2B5EF4-FFF2-40B4-BE49-F238E27FC236}">
                <a16:creationId xmlns:a16="http://schemas.microsoft.com/office/drawing/2014/main" id="{BC0E9083-C93B-4A90-9973-CD24857EFDD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52656" y="3800149"/>
            <a:ext cx="1866900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E296D87E-14DE-4771-94B6-E604F5BDA45C}"/>
              </a:ext>
            </a:extLst>
          </p:cNvPr>
          <p:cNvCxnSpPr>
            <a:cxnSpLocks/>
          </p:cNvCxnSpPr>
          <p:nvPr userDrawn="1"/>
        </p:nvCxnSpPr>
        <p:spPr>
          <a:xfrm>
            <a:off x="5162550" y="3733800"/>
            <a:ext cx="18669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17">
            <a:extLst>
              <a:ext uri="{FF2B5EF4-FFF2-40B4-BE49-F238E27FC236}">
                <a16:creationId xmlns:a16="http://schemas.microsoft.com/office/drawing/2014/main" id="{EDBC25DA-EE48-4CEA-A809-F1D449A18E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62550" y="3403600"/>
            <a:ext cx="18669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1" name="Text Placeholder 17">
            <a:extLst>
              <a:ext uri="{FF2B5EF4-FFF2-40B4-BE49-F238E27FC236}">
                <a16:creationId xmlns:a16="http://schemas.microsoft.com/office/drawing/2014/main" id="{8D93C445-0E43-499F-8086-E6AC10AF16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62550" y="3800149"/>
            <a:ext cx="1866900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F957002D-3EE1-4525-98D7-0F51A43ABC18}"/>
              </a:ext>
            </a:extLst>
          </p:cNvPr>
          <p:cNvCxnSpPr>
            <a:cxnSpLocks/>
          </p:cNvCxnSpPr>
          <p:nvPr userDrawn="1"/>
        </p:nvCxnSpPr>
        <p:spPr>
          <a:xfrm>
            <a:off x="7472444" y="3733800"/>
            <a:ext cx="18669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 Placeholder 17">
            <a:extLst>
              <a:ext uri="{FF2B5EF4-FFF2-40B4-BE49-F238E27FC236}">
                <a16:creationId xmlns:a16="http://schemas.microsoft.com/office/drawing/2014/main" id="{A6EFECAD-2297-425C-AC77-A508D475C68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72444" y="3403600"/>
            <a:ext cx="18669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4" name="Text Placeholder 17">
            <a:extLst>
              <a:ext uri="{FF2B5EF4-FFF2-40B4-BE49-F238E27FC236}">
                <a16:creationId xmlns:a16="http://schemas.microsoft.com/office/drawing/2014/main" id="{E786DCEE-EC2F-44DB-8CD4-F89B1FC2F86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72444" y="3800149"/>
            <a:ext cx="1866900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6E8C6A2-5CFF-46FC-A484-107A63E70F44}"/>
              </a:ext>
            </a:extLst>
          </p:cNvPr>
          <p:cNvCxnSpPr>
            <a:cxnSpLocks/>
          </p:cNvCxnSpPr>
          <p:nvPr userDrawn="1"/>
        </p:nvCxnSpPr>
        <p:spPr>
          <a:xfrm>
            <a:off x="9782338" y="3733800"/>
            <a:ext cx="18669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 Placeholder 17">
            <a:extLst>
              <a:ext uri="{FF2B5EF4-FFF2-40B4-BE49-F238E27FC236}">
                <a16:creationId xmlns:a16="http://schemas.microsoft.com/office/drawing/2014/main" id="{A9A8C1AC-5A4C-4232-A4E5-C668FFF67B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782338" y="3403600"/>
            <a:ext cx="18669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7" name="Text Placeholder 17">
            <a:extLst>
              <a:ext uri="{FF2B5EF4-FFF2-40B4-BE49-F238E27FC236}">
                <a16:creationId xmlns:a16="http://schemas.microsoft.com/office/drawing/2014/main" id="{B482AAB0-5600-4983-87FD-8A65CFE1EA1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82338" y="3800149"/>
            <a:ext cx="1866900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 from a sample  using indexes.</a:t>
            </a:r>
          </a:p>
        </p:txBody>
      </p:sp>
      <p:pic>
        <p:nvPicPr>
          <p:cNvPr id="32" name="Picture 31" descr="darkest-green-horz.png">
            <a:extLst>
              <a:ext uri="{FF2B5EF4-FFF2-40B4-BE49-F238E27FC236}">
                <a16:creationId xmlns:a16="http://schemas.microsoft.com/office/drawing/2014/main" id="{9AB50E8C-4A14-484D-8341-9AAED951A2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198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6B451DA9-84E9-406B-B7A0-3F22AB0822B4}"/>
              </a:ext>
            </a:extLst>
          </p:cNvPr>
          <p:cNvSpPr/>
          <p:nvPr userDrawn="1"/>
        </p:nvSpPr>
        <p:spPr>
          <a:xfrm>
            <a:off x="4145280" y="1674920"/>
            <a:ext cx="3901440" cy="390144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ircle: Hollow 2">
            <a:extLst>
              <a:ext uri="{FF2B5EF4-FFF2-40B4-BE49-F238E27FC236}">
                <a16:creationId xmlns:a16="http://schemas.microsoft.com/office/drawing/2014/main" id="{A02546F4-A719-44A7-BA83-978E35B33720}"/>
              </a:ext>
            </a:extLst>
          </p:cNvPr>
          <p:cNvSpPr/>
          <p:nvPr userDrawn="1"/>
        </p:nvSpPr>
        <p:spPr>
          <a:xfrm>
            <a:off x="4637315" y="2166955"/>
            <a:ext cx="2917370" cy="2917370"/>
          </a:xfrm>
          <a:prstGeom prst="donut">
            <a:avLst>
              <a:gd name="adj" fmla="val 1425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8808323-FB6E-44E5-B1F7-5050AE01273F}"/>
              </a:ext>
            </a:extLst>
          </p:cNvPr>
          <p:cNvSpPr/>
          <p:nvPr userDrawn="1"/>
        </p:nvSpPr>
        <p:spPr>
          <a:xfrm>
            <a:off x="4145280" y="1674920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EF4F4F1-60B3-4C4D-988F-E0D1706BFFFD}"/>
              </a:ext>
            </a:extLst>
          </p:cNvPr>
          <p:cNvSpPr/>
          <p:nvPr userDrawn="1"/>
        </p:nvSpPr>
        <p:spPr>
          <a:xfrm>
            <a:off x="3535679" y="3142313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D2F4B07-9F08-478C-AD5E-767D46F8D49B}"/>
              </a:ext>
            </a:extLst>
          </p:cNvPr>
          <p:cNvSpPr/>
          <p:nvPr userDrawn="1"/>
        </p:nvSpPr>
        <p:spPr>
          <a:xfrm>
            <a:off x="4138750" y="4644543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29F99BE-2AFA-46F4-9DA3-3D948A7C8D76}"/>
              </a:ext>
            </a:extLst>
          </p:cNvPr>
          <p:cNvSpPr/>
          <p:nvPr userDrawn="1"/>
        </p:nvSpPr>
        <p:spPr>
          <a:xfrm>
            <a:off x="7123612" y="4653252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215E840-278F-47EA-9CEB-D3111A1A6EB9}"/>
              </a:ext>
            </a:extLst>
          </p:cNvPr>
          <p:cNvSpPr/>
          <p:nvPr userDrawn="1"/>
        </p:nvSpPr>
        <p:spPr>
          <a:xfrm>
            <a:off x="7724503" y="3166959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031A8B01-A37F-45FF-8A3A-41C13E664287}"/>
              </a:ext>
            </a:extLst>
          </p:cNvPr>
          <p:cNvSpPr/>
          <p:nvPr userDrawn="1"/>
        </p:nvSpPr>
        <p:spPr>
          <a:xfrm>
            <a:off x="7123612" y="1689376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20B2967E-B0E0-4CD1-AF9F-A432853411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3957" y="1564236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9BB7751C-BF94-4D85-BA3B-C7F4267992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33957" y="1840783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1F567888-DCA6-4E49-B6F7-E719DC550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5451" y="3210367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11872DD7-F7FB-449D-B02E-819E24B5DD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65451" y="3486914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84" name="Text Placeholder 17">
            <a:extLst>
              <a:ext uri="{FF2B5EF4-FFF2-40B4-BE49-F238E27FC236}">
                <a16:creationId xmlns:a16="http://schemas.microsoft.com/office/drawing/2014/main" id="{B71784FC-576D-437D-8433-07F2A1EFCB1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33957" y="4750474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9515C69C-5789-45BB-888F-53DE2BF176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233957" y="5027021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73493814-C75F-4B8B-AC52-18A9FDD397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60450" y="1564236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4B054146-2840-4784-87A8-71518C713F8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0450" y="1840783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6CC06A11-0BFF-4968-B357-6D312EC8C3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8913" y="3210367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0799F563-C064-4655-862C-3EB679BEBBB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8913" y="3486914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473FBCB4-1FC2-4B45-842F-AE3F36EDF7D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60450" y="4750474"/>
            <a:ext cx="2807424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9C07BD5E-0A2C-4765-9D98-B4F5713D8A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60450" y="5027021"/>
            <a:ext cx="28074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pic>
        <p:nvPicPr>
          <p:cNvPr id="27" name="Picture 26" descr="darkest-green-horz.png">
            <a:extLst>
              <a:ext uri="{FF2B5EF4-FFF2-40B4-BE49-F238E27FC236}">
                <a16:creationId xmlns:a16="http://schemas.microsoft.com/office/drawing/2014/main" id="{8238C8AB-DF7F-43B1-8113-329DE5B84A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35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val 87">
            <a:extLst>
              <a:ext uri="{FF2B5EF4-FFF2-40B4-BE49-F238E27FC236}">
                <a16:creationId xmlns:a16="http://schemas.microsoft.com/office/drawing/2014/main" id="{9D88F0E2-11AE-4566-872C-952FA73784FC}"/>
              </a:ext>
            </a:extLst>
          </p:cNvPr>
          <p:cNvSpPr/>
          <p:nvPr userDrawn="1"/>
        </p:nvSpPr>
        <p:spPr>
          <a:xfrm>
            <a:off x="717341" y="1623446"/>
            <a:ext cx="3998186" cy="399818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2FA6A7D-9CC7-407F-9116-78D62D0E3AF1}"/>
              </a:ext>
            </a:extLst>
          </p:cNvPr>
          <p:cNvSpPr/>
          <p:nvPr userDrawn="1"/>
        </p:nvSpPr>
        <p:spPr>
          <a:xfrm>
            <a:off x="876220" y="1782325"/>
            <a:ext cx="3680428" cy="3680428"/>
          </a:xfrm>
          <a:prstGeom prst="ellipse">
            <a:avLst/>
          </a:prstGeom>
          <a:solidFill>
            <a:srgbClr val="D8E8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A2C62A2C-EC81-4ED2-9120-FCB4C5A226F4}"/>
              </a:ext>
            </a:extLst>
          </p:cNvPr>
          <p:cNvSpPr/>
          <p:nvPr userDrawn="1"/>
        </p:nvSpPr>
        <p:spPr>
          <a:xfrm rot="16200000">
            <a:off x="4172816" y="2262951"/>
            <a:ext cx="2656412" cy="2656412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700" y="267193"/>
            <a:ext cx="1140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1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9" y="6553200"/>
            <a:ext cx="155491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en-US" sz="1000" smtClean="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ABBCE798-7C50-49C6-8D51-F3C278A96A4F}"/>
              </a:ext>
            </a:extLst>
          </p:cNvPr>
          <p:cNvSpPr/>
          <p:nvPr/>
        </p:nvSpPr>
        <p:spPr>
          <a:xfrm rot="16200000">
            <a:off x="4338907" y="2429042"/>
            <a:ext cx="2324230" cy="2324230"/>
          </a:xfrm>
          <a:prstGeom prst="ellipse">
            <a:avLst/>
          </a:prstGeom>
          <a:solidFill>
            <a:srgbClr val="D8E8FC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40447BAE-A62D-43E0-B4C6-FED95E722B3D}"/>
              </a:ext>
            </a:extLst>
          </p:cNvPr>
          <p:cNvSpPr/>
          <p:nvPr/>
        </p:nvSpPr>
        <p:spPr>
          <a:xfrm rot="5400000">
            <a:off x="4010186" y="2112481"/>
            <a:ext cx="2969936" cy="2969936"/>
          </a:xfrm>
          <a:prstGeom prst="arc">
            <a:avLst>
              <a:gd name="adj1" fmla="val 19440172"/>
              <a:gd name="adj2" fmla="val 20464876"/>
            </a:avLst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9F4BADBB-FF05-46EC-AAB5-FEDF6A5B122F}"/>
              </a:ext>
            </a:extLst>
          </p:cNvPr>
          <p:cNvSpPr/>
          <p:nvPr/>
        </p:nvSpPr>
        <p:spPr>
          <a:xfrm rot="5400000">
            <a:off x="4016478" y="2106188"/>
            <a:ext cx="2969936" cy="2969936"/>
          </a:xfrm>
          <a:prstGeom prst="arc">
            <a:avLst>
              <a:gd name="adj1" fmla="val 17543860"/>
              <a:gd name="adj2" fmla="val 19289614"/>
            </a:avLst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BE56AF86-0C7C-4325-AD1B-812745FE0407}"/>
              </a:ext>
            </a:extLst>
          </p:cNvPr>
          <p:cNvSpPr/>
          <p:nvPr/>
        </p:nvSpPr>
        <p:spPr>
          <a:xfrm rot="5400000">
            <a:off x="4016478" y="2106188"/>
            <a:ext cx="2969936" cy="2969936"/>
          </a:xfrm>
          <a:prstGeom prst="arc">
            <a:avLst>
              <a:gd name="adj1" fmla="val 15142880"/>
              <a:gd name="adj2" fmla="val 17374696"/>
            </a:avLst>
          </a:prstGeom>
          <a:ln w="571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AED1F3F0-11CC-4FB7-82A9-303AC3188C32}"/>
              </a:ext>
            </a:extLst>
          </p:cNvPr>
          <p:cNvSpPr/>
          <p:nvPr/>
        </p:nvSpPr>
        <p:spPr>
          <a:xfrm rot="5400000">
            <a:off x="4016478" y="2106188"/>
            <a:ext cx="2969936" cy="2969936"/>
          </a:xfrm>
          <a:prstGeom prst="arc">
            <a:avLst>
              <a:gd name="adj1" fmla="val 13037521"/>
              <a:gd name="adj2" fmla="val 14996694"/>
            </a:avLst>
          </a:prstGeom>
          <a:ln w="571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9748BDB8-4C28-4F38-8610-BF835BD0F523}"/>
              </a:ext>
            </a:extLst>
          </p:cNvPr>
          <p:cNvSpPr/>
          <p:nvPr/>
        </p:nvSpPr>
        <p:spPr>
          <a:xfrm rot="5400000">
            <a:off x="4010186" y="2099897"/>
            <a:ext cx="2969936" cy="2969936"/>
          </a:xfrm>
          <a:prstGeom prst="arc">
            <a:avLst>
              <a:gd name="adj1" fmla="val 11888841"/>
              <a:gd name="adj2" fmla="val 12879500"/>
            </a:avLst>
          </a:prstGeom>
          <a:ln w="5715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BAEB2CB0-969F-456C-A6FE-B51CCB0737D8}"/>
              </a:ext>
            </a:extLst>
          </p:cNvPr>
          <p:cNvSpPr/>
          <p:nvPr/>
        </p:nvSpPr>
        <p:spPr>
          <a:xfrm rot="16200000">
            <a:off x="4216578" y="2301271"/>
            <a:ext cx="2568886" cy="2568886"/>
          </a:xfrm>
          <a:prstGeom prst="arc">
            <a:avLst>
              <a:gd name="adj1" fmla="val 19440172"/>
              <a:gd name="adj2" fmla="val 21378011"/>
            </a:avLst>
          </a:prstGeom>
          <a:ln w="5715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FB93E3F8-946F-41BA-A4D2-FB528F88DE9F}"/>
              </a:ext>
            </a:extLst>
          </p:cNvPr>
          <p:cNvSpPr/>
          <p:nvPr/>
        </p:nvSpPr>
        <p:spPr>
          <a:xfrm rot="16200000">
            <a:off x="4211135" y="2306714"/>
            <a:ext cx="2568886" cy="2568886"/>
          </a:xfrm>
          <a:prstGeom prst="arc">
            <a:avLst>
              <a:gd name="adj1" fmla="val 17271678"/>
              <a:gd name="adj2" fmla="val 19289614"/>
            </a:avLst>
          </a:prstGeom>
          <a:ln w="571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B8FCF471-BACE-40E8-A0D2-25E120C71ED6}"/>
              </a:ext>
            </a:extLst>
          </p:cNvPr>
          <p:cNvSpPr/>
          <p:nvPr/>
        </p:nvSpPr>
        <p:spPr>
          <a:xfrm rot="16200000">
            <a:off x="4211135" y="2306714"/>
            <a:ext cx="2568886" cy="2568886"/>
          </a:xfrm>
          <a:prstGeom prst="arc">
            <a:avLst>
              <a:gd name="adj1" fmla="val 15112858"/>
              <a:gd name="adj2" fmla="val 17140338"/>
            </a:avLst>
          </a:prstGeom>
          <a:ln w="571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id="{C913791C-7187-459D-B0FB-418B9CC3C33B}"/>
              </a:ext>
            </a:extLst>
          </p:cNvPr>
          <p:cNvSpPr/>
          <p:nvPr/>
        </p:nvSpPr>
        <p:spPr>
          <a:xfrm rot="16200000">
            <a:off x="4211135" y="2306714"/>
            <a:ext cx="2568886" cy="2568886"/>
          </a:xfrm>
          <a:prstGeom prst="arc">
            <a:avLst>
              <a:gd name="adj1" fmla="val 13037521"/>
              <a:gd name="adj2" fmla="val 14996694"/>
            </a:avLst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24DEF19E-B9F3-4E70-ABCA-DFBEB21EBCE4}"/>
              </a:ext>
            </a:extLst>
          </p:cNvPr>
          <p:cNvSpPr/>
          <p:nvPr/>
        </p:nvSpPr>
        <p:spPr>
          <a:xfrm rot="16200000">
            <a:off x="4216578" y="2312157"/>
            <a:ext cx="2568886" cy="2568886"/>
          </a:xfrm>
          <a:prstGeom prst="arc">
            <a:avLst>
              <a:gd name="adj1" fmla="val 10910815"/>
              <a:gd name="adj2" fmla="val 12879500"/>
            </a:avLst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CBB865-BDC7-4603-9B29-CB9E80D7B9D5}"/>
              </a:ext>
            </a:extLst>
          </p:cNvPr>
          <p:cNvGrpSpPr/>
          <p:nvPr/>
        </p:nvGrpSpPr>
        <p:grpSpPr>
          <a:xfrm rot="16200000">
            <a:off x="5793219" y="2016898"/>
            <a:ext cx="326553" cy="326553"/>
            <a:chOff x="9725025" y="4036219"/>
            <a:chExt cx="457200" cy="45720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817C174C-5A38-434F-A337-90E9FD680358}"/>
                </a:ext>
              </a:extLst>
            </p:cNvPr>
            <p:cNvSpPr/>
            <p:nvPr/>
          </p:nvSpPr>
          <p:spPr>
            <a:xfrm>
              <a:off x="9725025" y="4036219"/>
              <a:ext cx="457200" cy="4572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332E9742-49BF-4EC0-9E74-130DB9CD9B11}"/>
                </a:ext>
              </a:extLst>
            </p:cNvPr>
            <p:cNvSpPr/>
            <p:nvPr/>
          </p:nvSpPr>
          <p:spPr>
            <a:xfrm>
              <a:off x="9784556" y="4095750"/>
              <a:ext cx="338138" cy="33813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32D45AF-A29E-4396-82C1-41BBC6420D43}"/>
                </a:ext>
              </a:extLst>
            </p:cNvPr>
            <p:cNvSpPr/>
            <p:nvPr/>
          </p:nvSpPr>
          <p:spPr>
            <a:xfrm>
              <a:off x="9858375" y="4169569"/>
              <a:ext cx="190500" cy="1905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7E3354-B3A1-40BF-AEF6-E205C6155BD0}"/>
              </a:ext>
            </a:extLst>
          </p:cNvPr>
          <p:cNvGrpSpPr/>
          <p:nvPr/>
        </p:nvGrpSpPr>
        <p:grpSpPr>
          <a:xfrm rot="16200000">
            <a:off x="6545992" y="2563363"/>
            <a:ext cx="326553" cy="326553"/>
            <a:chOff x="9725025" y="4036219"/>
            <a:chExt cx="457200" cy="45720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6F7D80CC-5E63-434F-A566-80D980C0BE64}"/>
                </a:ext>
              </a:extLst>
            </p:cNvPr>
            <p:cNvSpPr/>
            <p:nvPr/>
          </p:nvSpPr>
          <p:spPr>
            <a:xfrm>
              <a:off x="9725025" y="4036219"/>
              <a:ext cx="457200" cy="4572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2A534A17-A8D1-4136-9604-5A06001D27C8}"/>
                </a:ext>
              </a:extLst>
            </p:cNvPr>
            <p:cNvSpPr/>
            <p:nvPr/>
          </p:nvSpPr>
          <p:spPr>
            <a:xfrm>
              <a:off x="9784556" y="4095750"/>
              <a:ext cx="338138" cy="33813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4039D761-4BC8-4FE4-92FA-AE6069AC4A18}"/>
                </a:ext>
              </a:extLst>
            </p:cNvPr>
            <p:cNvSpPr/>
            <p:nvPr/>
          </p:nvSpPr>
          <p:spPr>
            <a:xfrm>
              <a:off x="9858375" y="4169569"/>
              <a:ext cx="190500" cy="1905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8534534-14AB-4624-B464-1143D1869C6A}"/>
              </a:ext>
            </a:extLst>
          </p:cNvPr>
          <p:cNvGrpSpPr/>
          <p:nvPr/>
        </p:nvGrpSpPr>
        <p:grpSpPr>
          <a:xfrm rot="16200000">
            <a:off x="6825858" y="3434173"/>
            <a:ext cx="326553" cy="326553"/>
            <a:chOff x="9725025" y="4036219"/>
            <a:chExt cx="457200" cy="45720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7E54663-59CF-4FB7-9615-49BDA41F18B4}"/>
                </a:ext>
              </a:extLst>
            </p:cNvPr>
            <p:cNvSpPr/>
            <p:nvPr/>
          </p:nvSpPr>
          <p:spPr>
            <a:xfrm>
              <a:off x="9725025" y="4036219"/>
              <a:ext cx="457200" cy="4572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042EDB6B-3CE8-4C85-9AB0-1F645388F44A}"/>
                </a:ext>
              </a:extLst>
            </p:cNvPr>
            <p:cNvSpPr/>
            <p:nvPr/>
          </p:nvSpPr>
          <p:spPr>
            <a:xfrm>
              <a:off x="9784556" y="4095750"/>
              <a:ext cx="338138" cy="33813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711A9D0B-8EF8-47A9-A5B4-E8DE0FFE622C}"/>
                </a:ext>
              </a:extLst>
            </p:cNvPr>
            <p:cNvSpPr/>
            <p:nvPr/>
          </p:nvSpPr>
          <p:spPr>
            <a:xfrm>
              <a:off x="9858375" y="4169569"/>
              <a:ext cx="190500" cy="19050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C5DF9FF-F1E8-42D3-94C9-A03336578330}"/>
              </a:ext>
            </a:extLst>
          </p:cNvPr>
          <p:cNvGrpSpPr/>
          <p:nvPr/>
        </p:nvGrpSpPr>
        <p:grpSpPr>
          <a:xfrm rot="16200000">
            <a:off x="6540124" y="4349827"/>
            <a:ext cx="326553" cy="326553"/>
            <a:chOff x="9725025" y="4036219"/>
            <a:chExt cx="457200" cy="45720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B793B215-2F58-4DE3-9E21-E9A5CC3AA46D}"/>
                </a:ext>
              </a:extLst>
            </p:cNvPr>
            <p:cNvSpPr/>
            <p:nvPr/>
          </p:nvSpPr>
          <p:spPr>
            <a:xfrm>
              <a:off x="9725025" y="4036219"/>
              <a:ext cx="457200" cy="4572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DED864F-1409-4716-AB89-6795BC9DA6E3}"/>
                </a:ext>
              </a:extLst>
            </p:cNvPr>
            <p:cNvSpPr/>
            <p:nvPr/>
          </p:nvSpPr>
          <p:spPr>
            <a:xfrm>
              <a:off x="9784556" y="4095750"/>
              <a:ext cx="338138" cy="33813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D0BFE092-8288-432E-A729-91DF17D6915C}"/>
                </a:ext>
              </a:extLst>
            </p:cNvPr>
            <p:cNvSpPr/>
            <p:nvPr/>
          </p:nvSpPr>
          <p:spPr>
            <a:xfrm>
              <a:off x="9858375" y="4169569"/>
              <a:ext cx="190500" cy="1905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FEBC8CC-BE97-4D16-9E59-08886BE46837}"/>
              </a:ext>
            </a:extLst>
          </p:cNvPr>
          <p:cNvGrpSpPr/>
          <p:nvPr/>
        </p:nvGrpSpPr>
        <p:grpSpPr>
          <a:xfrm rot="16200000">
            <a:off x="5793219" y="4888184"/>
            <a:ext cx="326553" cy="326553"/>
            <a:chOff x="9725025" y="4036219"/>
            <a:chExt cx="457200" cy="457200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E646C71C-1835-4265-BF0D-A35CC6313A5C}"/>
                </a:ext>
              </a:extLst>
            </p:cNvPr>
            <p:cNvSpPr/>
            <p:nvPr/>
          </p:nvSpPr>
          <p:spPr>
            <a:xfrm>
              <a:off x="9725025" y="4036219"/>
              <a:ext cx="457200" cy="4572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8C4C2900-A106-43A6-899A-2661546C9A36}"/>
                </a:ext>
              </a:extLst>
            </p:cNvPr>
            <p:cNvSpPr/>
            <p:nvPr/>
          </p:nvSpPr>
          <p:spPr>
            <a:xfrm>
              <a:off x="9784556" y="4095750"/>
              <a:ext cx="338138" cy="33813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5DD8BB13-7C04-4FB2-951E-194224254582}"/>
                </a:ext>
              </a:extLst>
            </p:cNvPr>
            <p:cNvSpPr/>
            <p:nvPr/>
          </p:nvSpPr>
          <p:spPr>
            <a:xfrm>
              <a:off x="9858375" y="4169569"/>
              <a:ext cx="190500" cy="1905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1" name="Speech Bubble: Oval 30">
            <a:extLst>
              <a:ext uri="{FF2B5EF4-FFF2-40B4-BE49-F238E27FC236}">
                <a16:creationId xmlns:a16="http://schemas.microsoft.com/office/drawing/2014/main" id="{71D1B735-4D3E-4E31-A507-17B184945764}"/>
              </a:ext>
            </a:extLst>
          </p:cNvPr>
          <p:cNvSpPr>
            <a:spLocks/>
          </p:cNvSpPr>
          <p:nvPr/>
        </p:nvSpPr>
        <p:spPr>
          <a:xfrm rot="10616615" flipH="1">
            <a:off x="5772756" y="5355438"/>
            <a:ext cx="971624" cy="973005"/>
          </a:xfrm>
          <a:prstGeom prst="wedgeEllipseCallou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2" name="Speech Bubble: Oval 31">
            <a:extLst>
              <a:ext uri="{FF2B5EF4-FFF2-40B4-BE49-F238E27FC236}">
                <a16:creationId xmlns:a16="http://schemas.microsoft.com/office/drawing/2014/main" id="{29311D00-390E-43B0-8243-18F49BA934F1}"/>
              </a:ext>
            </a:extLst>
          </p:cNvPr>
          <p:cNvSpPr>
            <a:spLocks/>
          </p:cNvSpPr>
          <p:nvPr/>
        </p:nvSpPr>
        <p:spPr>
          <a:xfrm rot="8699150" flipH="1">
            <a:off x="6896878" y="4522728"/>
            <a:ext cx="971624" cy="973005"/>
          </a:xfrm>
          <a:prstGeom prst="wedgeEllipseCallou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Speech Bubble: Oval 32">
            <a:extLst>
              <a:ext uri="{FF2B5EF4-FFF2-40B4-BE49-F238E27FC236}">
                <a16:creationId xmlns:a16="http://schemas.microsoft.com/office/drawing/2014/main" id="{B793DAB0-7E4A-420D-A36A-323210D06052}"/>
              </a:ext>
            </a:extLst>
          </p:cNvPr>
          <p:cNvSpPr>
            <a:spLocks/>
          </p:cNvSpPr>
          <p:nvPr/>
        </p:nvSpPr>
        <p:spPr>
          <a:xfrm rot="17413553" flipV="1">
            <a:off x="7355806" y="3129456"/>
            <a:ext cx="971624" cy="973005"/>
          </a:xfrm>
          <a:prstGeom prst="wedgeEllipseCallou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Speech Bubble: Oval 33">
            <a:extLst>
              <a:ext uri="{FF2B5EF4-FFF2-40B4-BE49-F238E27FC236}">
                <a16:creationId xmlns:a16="http://schemas.microsoft.com/office/drawing/2014/main" id="{2CE14BDF-FBBA-4EF2-B4AC-E7D7B48EA1A0}"/>
              </a:ext>
            </a:extLst>
          </p:cNvPr>
          <p:cNvSpPr>
            <a:spLocks/>
          </p:cNvSpPr>
          <p:nvPr/>
        </p:nvSpPr>
        <p:spPr>
          <a:xfrm rot="183385">
            <a:off x="5777142" y="916635"/>
            <a:ext cx="971624" cy="973005"/>
          </a:xfrm>
          <a:prstGeom prst="wedgeEllipseCallou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5" name="Speech Bubble: Oval 34">
            <a:extLst>
              <a:ext uri="{FF2B5EF4-FFF2-40B4-BE49-F238E27FC236}">
                <a16:creationId xmlns:a16="http://schemas.microsoft.com/office/drawing/2014/main" id="{0CEB76CB-0225-47C2-B70E-C686E328FAFE}"/>
              </a:ext>
            </a:extLst>
          </p:cNvPr>
          <p:cNvSpPr>
            <a:spLocks/>
          </p:cNvSpPr>
          <p:nvPr/>
        </p:nvSpPr>
        <p:spPr>
          <a:xfrm rot="2100850">
            <a:off x="6901264" y="1749345"/>
            <a:ext cx="971624" cy="973005"/>
          </a:xfrm>
          <a:prstGeom prst="wedgeEllipseCallou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0A00985-513E-4E63-8BDE-8CE681CF28F3}"/>
              </a:ext>
            </a:extLst>
          </p:cNvPr>
          <p:cNvSpPr/>
          <p:nvPr userDrawn="1"/>
        </p:nvSpPr>
        <p:spPr>
          <a:xfrm rot="16200000">
            <a:off x="4533542" y="2623678"/>
            <a:ext cx="1934959" cy="1934958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2D707F4-159E-47D2-B778-F10CCEC1F5FE}"/>
              </a:ext>
            </a:extLst>
          </p:cNvPr>
          <p:cNvSpPr/>
          <p:nvPr/>
        </p:nvSpPr>
        <p:spPr>
          <a:xfrm rot="16200000">
            <a:off x="5932777" y="5515273"/>
            <a:ext cx="653107" cy="653107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509E231-0001-4144-87C9-B4E543FAA4FF}"/>
              </a:ext>
            </a:extLst>
          </p:cNvPr>
          <p:cNvSpPr/>
          <p:nvPr/>
        </p:nvSpPr>
        <p:spPr>
          <a:xfrm rot="16200000">
            <a:off x="7051735" y="4677235"/>
            <a:ext cx="653107" cy="653107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1E7F190-5570-475C-8C7A-E31B9392E47D}"/>
              </a:ext>
            </a:extLst>
          </p:cNvPr>
          <p:cNvSpPr/>
          <p:nvPr/>
        </p:nvSpPr>
        <p:spPr>
          <a:xfrm rot="16200000">
            <a:off x="7515065" y="3291225"/>
            <a:ext cx="653107" cy="653107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722819-62FC-436C-9A56-BDD5A1BFDC37}"/>
              </a:ext>
            </a:extLst>
          </p:cNvPr>
          <p:cNvSpPr/>
          <p:nvPr/>
        </p:nvSpPr>
        <p:spPr>
          <a:xfrm rot="16200000">
            <a:off x="7059348" y="1908048"/>
            <a:ext cx="653107" cy="653107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5D1E76C-6A24-4C62-9B16-52D38CE3B071}"/>
              </a:ext>
            </a:extLst>
          </p:cNvPr>
          <p:cNvSpPr/>
          <p:nvPr/>
        </p:nvSpPr>
        <p:spPr>
          <a:xfrm rot="16200000">
            <a:off x="5935405" y="1068729"/>
            <a:ext cx="653107" cy="653107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234340-F5BF-44A3-8565-A16FF61B7F5A}"/>
              </a:ext>
            </a:extLst>
          </p:cNvPr>
          <p:cNvSpPr/>
          <p:nvPr userDrawn="1"/>
        </p:nvSpPr>
        <p:spPr>
          <a:xfrm>
            <a:off x="2109916" y="3215686"/>
            <a:ext cx="961026" cy="1068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344E0157-7605-41F9-8C61-6C416EEC2C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76" y="2876978"/>
            <a:ext cx="2300706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DCDB6583-5D50-4559-B495-DCFBE2659C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40076" y="3415064"/>
            <a:ext cx="2300706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has two main statistical  methodologies are used in data analysis  which summarizes data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A55A41CA-B24A-4C12-8E67-B629555273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94076" y="3468047"/>
            <a:ext cx="161389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F01C0945-D716-4819-9685-46D51B4F4E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03343" y="5778452"/>
            <a:ext cx="314651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1802F580-0A10-4D31-BACB-510570C1F7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50918" y="4836666"/>
            <a:ext cx="314651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252C573B-CE16-4DF2-AC51-1A8FAF94B3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96299" y="3402335"/>
            <a:ext cx="314651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C24C10EA-574D-4DE2-9D0C-40FE213171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16488" y="2019158"/>
            <a:ext cx="314651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0E4A7B05-682B-4576-A638-A2D78D9142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7527" y="1090887"/>
            <a:ext cx="314651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Lorem Ipsum is  simply dummy text of  the printing and  typesetting industry.</a:t>
            </a:r>
          </a:p>
        </p:txBody>
      </p:sp>
      <p:pic>
        <p:nvPicPr>
          <p:cNvPr id="61" name="Picture 60" descr="darkest-green-horz.png">
            <a:extLst>
              <a:ext uri="{FF2B5EF4-FFF2-40B4-BE49-F238E27FC236}">
                <a16:creationId xmlns:a16="http://schemas.microsoft.com/office/drawing/2014/main" id="{0F26EA26-F56D-42EA-B7C0-A684B5AB1A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100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8CE3595B-5B9F-4DB1-B054-69CEAB36847F}"/>
              </a:ext>
            </a:extLst>
          </p:cNvPr>
          <p:cNvSpPr/>
          <p:nvPr userDrawn="1"/>
        </p:nvSpPr>
        <p:spPr>
          <a:xfrm>
            <a:off x="393700" y="1952172"/>
            <a:ext cx="2613324" cy="42309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55FE87-F2F2-4DAF-92A5-A87F6287B20F}"/>
              </a:ext>
            </a:extLst>
          </p:cNvPr>
          <p:cNvSpPr/>
          <p:nvPr userDrawn="1"/>
        </p:nvSpPr>
        <p:spPr>
          <a:xfrm>
            <a:off x="3324125" y="1952172"/>
            <a:ext cx="2613324" cy="42309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07798C-39B1-4D3C-AF00-C5210CAD9D23}"/>
              </a:ext>
            </a:extLst>
          </p:cNvPr>
          <p:cNvSpPr/>
          <p:nvPr userDrawn="1"/>
        </p:nvSpPr>
        <p:spPr>
          <a:xfrm>
            <a:off x="6254551" y="1952172"/>
            <a:ext cx="2613324" cy="42309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696B6D-3DB8-404A-A38B-92CB8EF77630}"/>
              </a:ext>
            </a:extLst>
          </p:cNvPr>
          <p:cNvSpPr/>
          <p:nvPr userDrawn="1"/>
        </p:nvSpPr>
        <p:spPr>
          <a:xfrm>
            <a:off x="9184976" y="1952172"/>
            <a:ext cx="2613324" cy="42309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10FA18C-E85F-4344-B8B8-E5C74915D912}"/>
              </a:ext>
            </a:extLst>
          </p:cNvPr>
          <p:cNvSpPr/>
          <p:nvPr/>
        </p:nvSpPr>
        <p:spPr>
          <a:xfrm>
            <a:off x="927964" y="1179775"/>
            <a:ext cx="1544796" cy="154479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9C7A663-7BC4-484F-93CA-2A41E00D67A7}"/>
              </a:ext>
            </a:extLst>
          </p:cNvPr>
          <p:cNvSpPr/>
          <p:nvPr/>
        </p:nvSpPr>
        <p:spPr>
          <a:xfrm>
            <a:off x="3858389" y="1179775"/>
            <a:ext cx="1544796" cy="154479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731F175-A1CE-4BB3-BCF7-D7838B4DF17F}"/>
              </a:ext>
            </a:extLst>
          </p:cNvPr>
          <p:cNvSpPr/>
          <p:nvPr/>
        </p:nvSpPr>
        <p:spPr>
          <a:xfrm>
            <a:off x="6788815" y="1179775"/>
            <a:ext cx="1544796" cy="154479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205FCB2-CDD8-45F6-8082-3BA59A719E4E}"/>
              </a:ext>
            </a:extLst>
          </p:cNvPr>
          <p:cNvSpPr/>
          <p:nvPr/>
        </p:nvSpPr>
        <p:spPr>
          <a:xfrm>
            <a:off x="9719240" y="1179775"/>
            <a:ext cx="1544796" cy="154479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A1C320D-7296-4A26-B923-B2158AACDE51}"/>
              </a:ext>
            </a:extLst>
          </p:cNvPr>
          <p:cNvCxnSpPr>
            <a:cxnSpLocks/>
          </p:cNvCxnSpPr>
          <p:nvPr userDrawn="1"/>
        </p:nvCxnSpPr>
        <p:spPr>
          <a:xfrm>
            <a:off x="531775" y="3548770"/>
            <a:ext cx="233717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89E2C86-A521-4455-A6A3-52C574B6A1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7962" y="1279773"/>
            <a:ext cx="1344802" cy="1344802"/>
          </a:xfrm>
          <a:custGeom>
            <a:avLst/>
            <a:gdLst>
              <a:gd name="connsiteX0" fmla="*/ 672401 w 1344802"/>
              <a:gd name="connsiteY0" fmla="*/ 0 h 1344802"/>
              <a:gd name="connsiteX1" fmla="*/ 1344802 w 1344802"/>
              <a:gd name="connsiteY1" fmla="*/ 672401 h 1344802"/>
              <a:gd name="connsiteX2" fmla="*/ 672401 w 1344802"/>
              <a:gd name="connsiteY2" fmla="*/ 1344802 h 1344802"/>
              <a:gd name="connsiteX3" fmla="*/ 0 w 1344802"/>
              <a:gd name="connsiteY3" fmla="*/ 672401 h 1344802"/>
              <a:gd name="connsiteX4" fmla="*/ 672401 w 1344802"/>
              <a:gd name="connsiteY4" fmla="*/ 0 h 134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4802" h="1344802">
                <a:moveTo>
                  <a:pt x="672401" y="0"/>
                </a:moveTo>
                <a:cubicBezTo>
                  <a:pt x="1043758" y="0"/>
                  <a:pt x="1344802" y="301044"/>
                  <a:pt x="1344802" y="672401"/>
                </a:cubicBezTo>
                <a:cubicBezTo>
                  <a:pt x="1344802" y="1043758"/>
                  <a:pt x="1043758" y="1344802"/>
                  <a:pt x="672401" y="1344802"/>
                </a:cubicBezTo>
                <a:cubicBezTo>
                  <a:pt x="301044" y="1344802"/>
                  <a:pt x="0" y="1043758"/>
                  <a:pt x="0" y="672401"/>
                </a:cubicBezTo>
                <a:cubicBezTo>
                  <a:pt x="0" y="301044"/>
                  <a:pt x="301044" y="0"/>
                  <a:pt x="67240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6B62FB2-DDA6-430A-BE92-9BE5A73A476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58387" y="1279773"/>
            <a:ext cx="1344802" cy="1344802"/>
          </a:xfrm>
          <a:custGeom>
            <a:avLst/>
            <a:gdLst>
              <a:gd name="connsiteX0" fmla="*/ 672401 w 1344802"/>
              <a:gd name="connsiteY0" fmla="*/ 0 h 1344802"/>
              <a:gd name="connsiteX1" fmla="*/ 1344802 w 1344802"/>
              <a:gd name="connsiteY1" fmla="*/ 672401 h 1344802"/>
              <a:gd name="connsiteX2" fmla="*/ 672401 w 1344802"/>
              <a:gd name="connsiteY2" fmla="*/ 1344802 h 1344802"/>
              <a:gd name="connsiteX3" fmla="*/ 0 w 1344802"/>
              <a:gd name="connsiteY3" fmla="*/ 672401 h 1344802"/>
              <a:gd name="connsiteX4" fmla="*/ 672401 w 1344802"/>
              <a:gd name="connsiteY4" fmla="*/ 0 h 134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4802" h="1344802">
                <a:moveTo>
                  <a:pt x="672401" y="0"/>
                </a:moveTo>
                <a:cubicBezTo>
                  <a:pt x="1043758" y="0"/>
                  <a:pt x="1344802" y="301044"/>
                  <a:pt x="1344802" y="672401"/>
                </a:cubicBezTo>
                <a:cubicBezTo>
                  <a:pt x="1344802" y="1043758"/>
                  <a:pt x="1043758" y="1344802"/>
                  <a:pt x="672401" y="1344802"/>
                </a:cubicBezTo>
                <a:cubicBezTo>
                  <a:pt x="301044" y="1344802"/>
                  <a:pt x="0" y="1043758"/>
                  <a:pt x="0" y="672401"/>
                </a:cubicBezTo>
                <a:cubicBezTo>
                  <a:pt x="0" y="301044"/>
                  <a:pt x="301044" y="0"/>
                  <a:pt x="67240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BAA1B533-A66F-47FF-BECB-D176ADD8A5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88813" y="1279773"/>
            <a:ext cx="1344802" cy="1344802"/>
          </a:xfrm>
          <a:custGeom>
            <a:avLst/>
            <a:gdLst>
              <a:gd name="connsiteX0" fmla="*/ 672401 w 1344802"/>
              <a:gd name="connsiteY0" fmla="*/ 0 h 1344802"/>
              <a:gd name="connsiteX1" fmla="*/ 1344802 w 1344802"/>
              <a:gd name="connsiteY1" fmla="*/ 672401 h 1344802"/>
              <a:gd name="connsiteX2" fmla="*/ 672401 w 1344802"/>
              <a:gd name="connsiteY2" fmla="*/ 1344802 h 1344802"/>
              <a:gd name="connsiteX3" fmla="*/ 0 w 1344802"/>
              <a:gd name="connsiteY3" fmla="*/ 672401 h 1344802"/>
              <a:gd name="connsiteX4" fmla="*/ 672401 w 1344802"/>
              <a:gd name="connsiteY4" fmla="*/ 0 h 134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4802" h="1344802">
                <a:moveTo>
                  <a:pt x="672401" y="0"/>
                </a:moveTo>
                <a:cubicBezTo>
                  <a:pt x="1043758" y="0"/>
                  <a:pt x="1344802" y="301044"/>
                  <a:pt x="1344802" y="672401"/>
                </a:cubicBezTo>
                <a:cubicBezTo>
                  <a:pt x="1344802" y="1043758"/>
                  <a:pt x="1043758" y="1344802"/>
                  <a:pt x="672401" y="1344802"/>
                </a:cubicBezTo>
                <a:cubicBezTo>
                  <a:pt x="301044" y="1344802"/>
                  <a:pt x="0" y="1043758"/>
                  <a:pt x="0" y="672401"/>
                </a:cubicBezTo>
                <a:cubicBezTo>
                  <a:pt x="0" y="301044"/>
                  <a:pt x="301044" y="0"/>
                  <a:pt x="67240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CA72E190-E0FB-4E6D-8592-25E9AB6E40B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19238" y="1279773"/>
            <a:ext cx="1344802" cy="1344802"/>
          </a:xfrm>
          <a:custGeom>
            <a:avLst/>
            <a:gdLst>
              <a:gd name="connsiteX0" fmla="*/ 672401 w 1344802"/>
              <a:gd name="connsiteY0" fmla="*/ 0 h 1344802"/>
              <a:gd name="connsiteX1" fmla="*/ 1344802 w 1344802"/>
              <a:gd name="connsiteY1" fmla="*/ 672401 h 1344802"/>
              <a:gd name="connsiteX2" fmla="*/ 672401 w 1344802"/>
              <a:gd name="connsiteY2" fmla="*/ 1344802 h 1344802"/>
              <a:gd name="connsiteX3" fmla="*/ 0 w 1344802"/>
              <a:gd name="connsiteY3" fmla="*/ 672401 h 1344802"/>
              <a:gd name="connsiteX4" fmla="*/ 672401 w 1344802"/>
              <a:gd name="connsiteY4" fmla="*/ 0 h 134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4802" h="1344802">
                <a:moveTo>
                  <a:pt x="672401" y="0"/>
                </a:moveTo>
                <a:cubicBezTo>
                  <a:pt x="1043758" y="0"/>
                  <a:pt x="1344802" y="301044"/>
                  <a:pt x="1344802" y="672401"/>
                </a:cubicBezTo>
                <a:cubicBezTo>
                  <a:pt x="1344802" y="1043758"/>
                  <a:pt x="1043758" y="1344802"/>
                  <a:pt x="672401" y="1344802"/>
                </a:cubicBezTo>
                <a:cubicBezTo>
                  <a:pt x="301044" y="1344802"/>
                  <a:pt x="0" y="1043758"/>
                  <a:pt x="0" y="672401"/>
                </a:cubicBezTo>
                <a:cubicBezTo>
                  <a:pt x="0" y="301044"/>
                  <a:pt x="301044" y="0"/>
                  <a:pt x="67240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7BF5C70-E158-466C-8B05-ED8F6D892F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6573" y="2889740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B6BA0A7-76C2-4079-B047-9D6A7A53E0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6573" y="3174434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D5040DA-EC5D-43B9-A89A-3978782A4D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1775" y="3676885"/>
            <a:ext cx="233717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2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27F7F3-C538-46A4-93B4-BC2C6CCE43FB}"/>
              </a:ext>
            </a:extLst>
          </p:cNvPr>
          <p:cNvCxnSpPr>
            <a:cxnSpLocks/>
          </p:cNvCxnSpPr>
          <p:nvPr userDrawn="1"/>
        </p:nvCxnSpPr>
        <p:spPr>
          <a:xfrm>
            <a:off x="3462200" y="3548770"/>
            <a:ext cx="233717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FE4248A4-8CC2-4DDE-8220-E512CC2D286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1728" y="2889740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6D125E8-45FD-4B76-8ABB-136385AD3B5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51728" y="3174434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17E2CB2-2760-4453-BAA6-C6E1DF579A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62200" y="3676885"/>
            <a:ext cx="233717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2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DF26621-BCE0-4F5E-BBCC-C97F0FD05F61}"/>
              </a:ext>
            </a:extLst>
          </p:cNvPr>
          <p:cNvCxnSpPr>
            <a:cxnSpLocks/>
          </p:cNvCxnSpPr>
          <p:nvPr userDrawn="1"/>
        </p:nvCxnSpPr>
        <p:spPr>
          <a:xfrm>
            <a:off x="6392626" y="3548770"/>
            <a:ext cx="233717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F6E8E23-1250-4CF1-8177-FCF71A44BA3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82154" y="2889740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A21CD42-AF7A-4A2E-873B-759D876510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82154" y="3174434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B140316-906D-4933-8FD6-47BBE32BBB7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92626" y="3676885"/>
            <a:ext cx="233717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2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E4BCADA-CC3E-44A6-A1D1-5B6A4C52E713}"/>
              </a:ext>
            </a:extLst>
          </p:cNvPr>
          <p:cNvCxnSpPr>
            <a:cxnSpLocks/>
          </p:cNvCxnSpPr>
          <p:nvPr userDrawn="1"/>
        </p:nvCxnSpPr>
        <p:spPr>
          <a:xfrm>
            <a:off x="9323051" y="3548770"/>
            <a:ext cx="233717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48EEAB4-FB6C-4025-803E-6B39517465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12579" y="2889740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CE702DB1-CD89-4159-88EB-EE80F091103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12579" y="3174434"/>
            <a:ext cx="235811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1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62559C41-AE20-41FF-ABCA-005506C9EB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323051" y="3676885"/>
            <a:ext cx="233717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2</a:t>
            </a:r>
          </a:p>
        </p:txBody>
      </p:sp>
      <p:pic>
        <p:nvPicPr>
          <p:cNvPr id="35" name="Picture 34" descr="darkest-green-horz.png">
            <a:extLst>
              <a:ext uri="{FF2B5EF4-FFF2-40B4-BE49-F238E27FC236}">
                <a16:creationId xmlns:a16="http://schemas.microsoft.com/office/drawing/2014/main" id="{2D4E890B-3C46-4040-BB4A-25284720F5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68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791F4D66-F1DA-4B9B-8D6B-AFEB79ECDD4B}"/>
              </a:ext>
            </a:extLst>
          </p:cNvPr>
          <p:cNvSpPr/>
          <p:nvPr userDrawn="1"/>
        </p:nvSpPr>
        <p:spPr>
          <a:xfrm>
            <a:off x="393700" y="1191079"/>
            <a:ext cx="11404600" cy="98697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AB3218-39F9-475F-B2E0-40C20B8E2319}"/>
              </a:ext>
            </a:extLst>
          </p:cNvPr>
          <p:cNvSpPr/>
          <p:nvPr userDrawn="1"/>
        </p:nvSpPr>
        <p:spPr>
          <a:xfrm>
            <a:off x="393700" y="5864679"/>
            <a:ext cx="11404600" cy="35560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EFFD7BE-9975-4432-AC82-4237A74A5046}"/>
              </a:ext>
            </a:extLst>
          </p:cNvPr>
          <p:cNvSpPr/>
          <p:nvPr userDrawn="1"/>
        </p:nvSpPr>
        <p:spPr>
          <a:xfrm>
            <a:off x="568620" y="2308678"/>
            <a:ext cx="2063663" cy="3367315"/>
          </a:xfrm>
          <a:prstGeom prst="roundRect">
            <a:avLst>
              <a:gd name="adj" fmla="val 65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4F8FA3-8C79-4A75-9FB6-95538882D1DC}"/>
              </a:ext>
            </a:extLst>
          </p:cNvPr>
          <p:cNvSpPr/>
          <p:nvPr userDrawn="1"/>
        </p:nvSpPr>
        <p:spPr>
          <a:xfrm>
            <a:off x="2816394" y="2308678"/>
            <a:ext cx="2063663" cy="3367315"/>
          </a:xfrm>
          <a:prstGeom prst="roundRect">
            <a:avLst>
              <a:gd name="adj" fmla="val 652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026F45A-8A42-479D-B6CC-676128440B12}"/>
              </a:ext>
            </a:extLst>
          </p:cNvPr>
          <p:cNvSpPr/>
          <p:nvPr userDrawn="1"/>
        </p:nvSpPr>
        <p:spPr>
          <a:xfrm>
            <a:off x="5064168" y="2308678"/>
            <a:ext cx="2063663" cy="3367315"/>
          </a:xfrm>
          <a:prstGeom prst="roundRect">
            <a:avLst>
              <a:gd name="adj" fmla="val 652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62905F7-01E2-4649-B0E6-6AA2027B6BF1}"/>
              </a:ext>
            </a:extLst>
          </p:cNvPr>
          <p:cNvSpPr/>
          <p:nvPr userDrawn="1"/>
        </p:nvSpPr>
        <p:spPr>
          <a:xfrm>
            <a:off x="7311942" y="2308678"/>
            <a:ext cx="2063663" cy="3367315"/>
          </a:xfrm>
          <a:prstGeom prst="roundRect">
            <a:avLst>
              <a:gd name="adj" fmla="val 6522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649D853-60C5-4484-AED7-7AFFEFBEF620}"/>
              </a:ext>
            </a:extLst>
          </p:cNvPr>
          <p:cNvSpPr/>
          <p:nvPr userDrawn="1"/>
        </p:nvSpPr>
        <p:spPr>
          <a:xfrm>
            <a:off x="9559717" y="2308678"/>
            <a:ext cx="2063663" cy="3367315"/>
          </a:xfrm>
          <a:prstGeom prst="roundRect">
            <a:avLst>
              <a:gd name="adj" fmla="val 652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91D1BB-CEF8-49A9-BE71-3D89F82F8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5670" y="3499340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EB9689A-F9BB-4508-9AF2-B933D209B8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670" y="38526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5D6ECC-CC5C-439B-8362-DC1185A981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3444" y="3499340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7D60FA4-096E-4586-B694-A1E74ED68A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83444" y="38526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55B739D-800D-4F4A-9361-46965DB17C4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31218" y="3499340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8DF922-21A7-4E8E-A4D9-891D862A37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31218" y="38526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8F6D956-263B-4F3D-838E-6DF043C701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78992" y="3499340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86EC20-3EFB-41BA-9AB8-099E5CAFD7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78992" y="38526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65B0670-B8EE-4DC4-80D8-671B6E0A58C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6767" y="3499340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B39CB89-4875-4733-9C1E-CE17409077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6767" y="38526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292A522-D036-472A-BBD7-7247EDAC33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42210" y="1648539"/>
            <a:ext cx="31075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512855A-6374-48DA-84A9-DDDBE0266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65868" y="5919369"/>
            <a:ext cx="80602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pic>
        <p:nvPicPr>
          <p:cNvPr id="34" name="Picture 33" descr="darkest-green-horz.png">
            <a:extLst>
              <a:ext uri="{FF2B5EF4-FFF2-40B4-BE49-F238E27FC236}">
                <a16:creationId xmlns:a16="http://schemas.microsoft.com/office/drawing/2014/main" id="{B3EF957D-2C62-4FBD-A2B5-79AA0DFF76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688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E6CE1BE6-59F4-4127-8C0A-2E7CBF59FABF}"/>
              </a:ext>
            </a:extLst>
          </p:cNvPr>
          <p:cNvSpPr/>
          <p:nvPr/>
        </p:nvSpPr>
        <p:spPr>
          <a:xfrm>
            <a:off x="3854700" y="2769259"/>
            <a:ext cx="2469900" cy="2469900"/>
          </a:xfrm>
          <a:prstGeom prst="ellipse">
            <a:avLst/>
          </a:prstGeom>
          <a:solidFill>
            <a:schemeClr val="tx2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13B3990-F45A-4AB2-A69D-C6B97853DAF3}"/>
              </a:ext>
            </a:extLst>
          </p:cNvPr>
          <p:cNvSpPr/>
          <p:nvPr/>
        </p:nvSpPr>
        <p:spPr>
          <a:xfrm>
            <a:off x="1917700" y="2769259"/>
            <a:ext cx="2469900" cy="2469900"/>
          </a:xfrm>
          <a:prstGeom prst="ellipse">
            <a:avLst/>
          </a:prstGeom>
          <a:solidFill>
            <a:schemeClr val="accent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0638838-5460-463C-A8B5-5F7FEEC404A3}"/>
              </a:ext>
            </a:extLst>
          </p:cNvPr>
          <p:cNvSpPr/>
          <p:nvPr/>
        </p:nvSpPr>
        <p:spPr>
          <a:xfrm>
            <a:off x="2886200" y="1165243"/>
            <a:ext cx="2469900" cy="2469900"/>
          </a:xfrm>
          <a:prstGeom prst="ellipse">
            <a:avLst/>
          </a:prstGeom>
          <a:solidFill>
            <a:schemeClr val="accent2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14" name="Picture 13" descr="A picture containing toy, LEGO&#10;&#10;Description automatically generated">
            <a:extLst>
              <a:ext uri="{FF2B5EF4-FFF2-40B4-BE49-F238E27FC236}">
                <a16:creationId xmlns:a16="http://schemas.microsoft.com/office/drawing/2014/main" id="{7CD837FE-6167-4290-A9B2-56AF4DD455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741" y="1939743"/>
            <a:ext cx="4476562" cy="334166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739626D3-6867-4C4A-82DB-5BC6D9996D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921738" y="1473234"/>
            <a:ext cx="398824" cy="39882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1248E367-EDCF-4011-969C-773FD9843FF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066291" y="3488956"/>
            <a:ext cx="515253" cy="515253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F06E143-08B8-4D4E-8755-C846DE46DE2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693480" y="3565503"/>
            <a:ext cx="438706" cy="438706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BA076E-BAB8-497A-B2A0-A2D5DBA0494D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156369" y="1983414"/>
            <a:ext cx="19295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7B9A921-EA47-461A-8C24-780620340B81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93700" y="1806722"/>
            <a:ext cx="2296233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9D01E1E-3F8C-4246-AC7A-00D0962D8D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16366" y="4121501"/>
            <a:ext cx="15946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564B31D-250E-4822-8636-BC1CCE6FB6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15493" y="4121501"/>
            <a:ext cx="15946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9D8FB28-422B-4B5B-9F0E-97C4DDFCF32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3700" y="5352249"/>
            <a:ext cx="276266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0C7AA38-41D8-4960-A84A-9876BC4717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85932" y="5352249"/>
            <a:ext cx="276266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25" name="Picture 24" descr="darkest-green-horz.png">
            <a:extLst>
              <a:ext uri="{FF2B5EF4-FFF2-40B4-BE49-F238E27FC236}">
                <a16:creationId xmlns:a16="http://schemas.microsoft.com/office/drawing/2014/main" id="{680DC92A-2EC3-43FB-A19B-F3DCA3A3885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1875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7BF5C70-E158-466C-8B05-ED8F6D892F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2239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D5040DA-EC5D-43B9-A89A-3978782A4D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2239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F44DD23-8C2D-45E2-AC68-282B25461EC6}"/>
              </a:ext>
            </a:extLst>
          </p:cNvPr>
          <p:cNvSpPr/>
          <p:nvPr userDrawn="1"/>
        </p:nvSpPr>
        <p:spPr>
          <a:xfrm>
            <a:off x="812949" y="1838020"/>
            <a:ext cx="2273002" cy="2273002"/>
          </a:xfrm>
          <a:prstGeom prst="ellipse">
            <a:avLst/>
          </a:prstGeom>
          <a:solidFill>
            <a:schemeClr val="accent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E0D76B2-D77A-4808-B0C2-3DB3401E549D}"/>
              </a:ext>
            </a:extLst>
          </p:cNvPr>
          <p:cNvSpPr/>
          <p:nvPr userDrawn="1"/>
        </p:nvSpPr>
        <p:spPr>
          <a:xfrm>
            <a:off x="2469029" y="1838020"/>
            <a:ext cx="2273002" cy="2273002"/>
          </a:xfrm>
          <a:prstGeom prst="ellipse">
            <a:avLst/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45D6D53-58EF-46B3-B4EE-FF06B8A73A33}"/>
              </a:ext>
            </a:extLst>
          </p:cNvPr>
          <p:cNvSpPr/>
          <p:nvPr userDrawn="1"/>
        </p:nvSpPr>
        <p:spPr>
          <a:xfrm>
            <a:off x="4125109" y="1838020"/>
            <a:ext cx="2273002" cy="2273002"/>
          </a:xfrm>
          <a:prstGeom prst="ellipse">
            <a:avLst/>
          </a:prstGeom>
          <a:solidFill>
            <a:schemeClr val="accent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2DB300A-C361-44EC-A4E6-02503D6009C7}"/>
              </a:ext>
            </a:extLst>
          </p:cNvPr>
          <p:cNvSpPr/>
          <p:nvPr userDrawn="1"/>
        </p:nvSpPr>
        <p:spPr>
          <a:xfrm>
            <a:off x="5781189" y="1838020"/>
            <a:ext cx="2273002" cy="2273002"/>
          </a:xfrm>
          <a:prstGeom prst="ellipse">
            <a:avLst/>
          </a:prstGeom>
          <a:solidFill>
            <a:schemeClr val="accent4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A3EC2D1-6E66-4A7F-9DBB-BE4D79CCFFC1}"/>
              </a:ext>
            </a:extLst>
          </p:cNvPr>
          <p:cNvSpPr/>
          <p:nvPr userDrawn="1"/>
        </p:nvSpPr>
        <p:spPr>
          <a:xfrm>
            <a:off x="7437269" y="1838020"/>
            <a:ext cx="2273002" cy="2273002"/>
          </a:xfrm>
          <a:prstGeom prst="ellipse">
            <a:avLst/>
          </a:prstGeom>
          <a:solidFill>
            <a:schemeClr val="accent5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31927FD-D800-4965-AF4C-C378F34006A9}"/>
              </a:ext>
            </a:extLst>
          </p:cNvPr>
          <p:cNvSpPr/>
          <p:nvPr userDrawn="1"/>
        </p:nvSpPr>
        <p:spPr>
          <a:xfrm>
            <a:off x="9093349" y="1838020"/>
            <a:ext cx="2273002" cy="2273002"/>
          </a:xfrm>
          <a:prstGeom prst="ellipse">
            <a:avLst/>
          </a:prstGeom>
          <a:solidFill>
            <a:schemeClr val="accent6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C034ED5-EF53-4230-8180-7E855EE9F315}"/>
              </a:ext>
            </a:extLst>
          </p:cNvPr>
          <p:cNvSpPr txBox="1"/>
          <p:nvPr userDrawn="1"/>
        </p:nvSpPr>
        <p:spPr>
          <a:xfrm>
            <a:off x="152354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56A5C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054CC9-7EC6-420F-A942-29EE92C7D705}"/>
              </a:ext>
            </a:extLst>
          </p:cNvPr>
          <p:cNvSpPr txBox="1"/>
          <p:nvPr userDrawn="1"/>
        </p:nvSpPr>
        <p:spPr>
          <a:xfrm>
            <a:off x="317962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93C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499188-7E84-49E6-88F9-F1FEFD71B558}"/>
              </a:ext>
            </a:extLst>
          </p:cNvPr>
          <p:cNvSpPr txBox="1"/>
          <p:nvPr userDrawn="1"/>
        </p:nvSpPr>
        <p:spPr>
          <a:xfrm>
            <a:off x="483570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C4387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2B59ED0-A64B-4AF3-867A-FB1BD2B94AF1}"/>
              </a:ext>
            </a:extLst>
          </p:cNvPr>
          <p:cNvSpPr txBox="1"/>
          <p:nvPr userDrawn="1"/>
        </p:nvSpPr>
        <p:spPr>
          <a:xfrm>
            <a:off x="649178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D4647E-E2B2-406C-8E38-C4E3196E8EDB}"/>
              </a:ext>
            </a:extLst>
          </p:cNvPr>
          <p:cNvSpPr txBox="1"/>
          <p:nvPr userDrawn="1"/>
        </p:nvSpPr>
        <p:spPr>
          <a:xfrm>
            <a:off x="814786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675C1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5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0BE9F89-120B-445A-859B-93D6EEB08017}"/>
              </a:ext>
            </a:extLst>
          </p:cNvPr>
          <p:cNvSpPr txBox="1"/>
          <p:nvPr userDrawn="1"/>
        </p:nvSpPr>
        <p:spPr>
          <a:xfrm>
            <a:off x="9803947" y="1162050"/>
            <a:ext cx="851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6</a:t>
            </a: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032D792A-9192-4041-9F5D-FB29C465A94F}"/>
              </a:ext>
            </a:extLst>
          </p:cNvPr>
          <p:cNvSpPr/>
          <p:nvPr userDrawn="1"/>
        </p:nvSpPr>
        <p:spPr>
          <a:xfrm rot="5400000">
            <a:off x="2669044" y="2889532"/>
            <a:ext cx="216894" cy="1699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059B9FDC-902B-4377-9AC7-BD37227BE1C5}"/>
              </a:ext>
            </a:extLst>
          </p:cNvPr>
          <p:cNvSpPr/>
          <p:nvPr userDrawn="1"/>
        </p:nvSpPr>
        <p:spPr>
          <a:xfrm rot="5400000">
            <a:off x="4325123" y="2889532"/>
            <a:ext cx="216894" cy="1699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DA8DF8C6-31A7-4839-B670-E11FC4FD00FD}"/>
              </a:ext>
            </a:extLst>
          </p:cNvPr>
          <p:cNvSpPr/>
          <p:nvPr userDrawn="1"/>
        </p:nvSpPr>
        <p:spPr>
          <a:xfrm rot="5400000">
            <a:off x="7637284" y="2889532"/>
            <a:ext cx="216894" cy="1699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8E69052E-B447-4085-9C93-B234A6925E44}"/>
              </a:ext>
            </a:extLst>
          </p:cNvPr>
          <p:cNvSpPr/>
          <p:nvPr userDrawn="1"/>
        </p:nvSpPr>
        <p:spPr>
          <a:xfrm rot="5400000">
            <a:off x="9293363" y="2889532"/>
            <a:ext cx="216894" cy="1699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5CBEE3D-231A-47FB-B080-FC244AF9253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47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0513962-B6CE-4A88-AD54-FCCC80699AA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7847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2C6B22E-2977-4668-9D0B-CE9EB57E3C9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53455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2A0D92B-AD20-467B-93D3-039858796EE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53455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B31BF82-E8A9-43E4-8E05-AAE94CB7B8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063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08A4C00-615A-439D-9AAC-826A906F5F5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063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78F662D-E45B-4B42-BEF0-2CBE3B76CE5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84671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5EECBF9-F7D7-455A-8B89-10300F767C6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4671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BBEDB325-79FD-49AD-8872-1CD1BD42FC7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502790" y="4223439"/>
            <a:ext cx="1454121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1" cap="none" baseline="0">
                <a:solidFill>
                  <a:schemeClr val="tx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</a:t>
            </a:r>
            <a:br>
              <a:rPr lang="en-US"/>
            </a:br>
            <a:r>
              <a:rPr lang="en-US"/>
              <a:t>head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B58B894-952B-44AC-972B-1EDEDD9203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502790" y="4757297"/>
            <a:ext cx="1454121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BBBF885-965C-43A3-B6E0-D83CC6A5AF83}"/>
              </a:ext>
            </a:extLst>
          </p:cNvPr>
          <p:cNvGrpSpPr/>
          <p:nvPr userDrawn="1"/>
        </p:nvGrpSpPr>
        <p:grpSpPr>
          <a:xfrm>
            <a:off x="2777491" y="3836205"/>
            <a:ext cx="6624320" cy="2512439"/>
            <a:chOff x="2777491" y="3950505"/>
            <a:chExt cx="6624320" cy="2328439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D4E7704-9F95-4AAC-929F-828A39264A2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777491" y="3950505"/>
              <a:ext cx="0" cy="232843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BBAF731A-20F5-4EFE-B55E-FB1C458F4A6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4433571" y="3950505"/>
              <a:ext cx="0" cy="232843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54BDC8F-6269-4F80-BB1A-E8455507734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089651" y="3950505"/>
              <a:ext cx="0" cy="232843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15A190D6-503A-47AC-ADA7-A0CA05CAFB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7745731" y="3950505"/>
              <a:ext cx="0" cy="232843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21D1A40C-7EAB-4AFB-A8AA-F5C3B4E137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01811" y="3950505"/>
              <a:ext cx="0" cy="232843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00B0A78D-B2CB-46A1-88B6-C9EF1F5C639C}"/>
              </a:ext>
            </a:extLst>
          </p:cNvPr>
          <p:cNvSpPr/>
          <p:nvPr userDrawn="1"/>
        </p:nvSpPr>
        <p:spPr>
          <a:xfrm rot="5400000">
            <a:off x="5981203" y="2889533"/>
            <a:ext cx="216894" cy="1699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7" name="Picture 46" descr="darkest-green-horz.png">
            <a:extLst>
              <a:ext uri="{FF2B5EF4-FFF2-40B4-BE49-F238E27FC236}">
                <a16:creationId xmlns:a16="http://schemas.microsoft.com/office/drawing/2014/main" id="{C694A73B-7423-4FE2-8519-2CDC0A5FD7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2280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CB7CF014-985A-4A26-8706-EF3F8E058DF1}"/>
              </a:ext>
            </a:extLst>
          </p:cNvPr>
          <p:cNvSpPr/>
          <p:nvPr userDrawn="1"/>
        </p:nvSpPr>
        <p:spPr>
          <a:xfrm>
            <a:off x="819150" y="1485900"/>
            <a:ext cx="3691890" cy="1310640"/>
          </a:xfrm>
          <a:prstGeom prst="homePlate">
            <a:avLst>
              <a:gd name="adj" fmla="val 2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6134BDA5-9718-47E9-887F-80EC9A1AC26D}"/>
              </a:ext>
            </a:extLst>
          </p:cNvPr>
          <p:cNvSpPr/>
          <p:nvPr userDrawn="1"/>
        </p:nvSpPr>
        <p:spPr>
          <a:xfrm>
            <a:off x="4354280" y="1485900"/>
            <a:ext cx="3691890" cy="1310640"/>
          </a:xfrm>
          <a:prstGeom prst="chevron">
            <a:avLst>
              <a:gd name="adj" fmla="val 2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1623EF83-3FA9-46FA-8830-63B059818267}"/>
              </a:ext>
            </a:extLst>
          </p:cNvPr>
          <p:cNvSpPr/>
          <p:nvPr userDrawn="1"/>
        </p:nvSpPr>
        <p:spPr>
          <a:xfrm>
            <a:off x="7889410" y="1485900"/>
            <a:ext cx="3691890" cy="1310640"/>
          </a:xfrm>
          <a:prstGeom prst="chevron">
            <a:avLst>
              <a:gd name="adj" fmla="val 2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4C11C30-4744-4B09-92E2-56706DAB6C24}"/>
              </a:ext>
            </a:extLst>
          </p:cNvPr>
          <p:cNvSpPr/>
          <p:nvPr userDrawn="1"/>
        </p:nvSpPr>
        <p:spPr>
          <a:xfrm>
            <a:off x="819150" y="2796540"/>
            <a:ext cx="3435350" cy="3293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FDB5B9-DFE0-4C8B-8F20-A36F685F0AB4}"/>
              </a:ext>
            </a:extLst>
          </p:cNvPr>
          <p:cNvSpPr/>
          <p:nvPr userDrawn="1"/>
        </p:nvSpPr>
        <p:spPr>
          <a:xfrm>
            <a:off x="4354280" y="2796540"/>
            <a:ext cx="3435350" cy="3293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47526C-A7F0-4D7D-9692-9FCF04605348}"/>
              </a:ext>
            </a:extLst>
          </p:cNvPr>
          <p:cNvSpPr/>
          <p:nvPr userDrawn="1"/>
        </p:nvSpPr>
        <p:spPr>
          <a:xfrm>
            <a:off x="7889410" y="2796540"/>
            <a:ext cx="3435350" cy="3293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7BF5C70-E158-466C-8B05-ED8F6D892F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2072" y="1987332"/>
            <a:ext cx="2726046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69471C4-B0E1-4604-BF6B-D549D5E325E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37202" y="1987332"/>
            <a:ext cx="2726046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8E8BC38-FE41-4471-BEAE-CAEEEA86A5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72332" y="1987332"/>
            <a:ext cx="2726046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D5040DA-EC5D-43B9-A89A-3978782A4D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7942" y="2949623"/>
            <a:ext cx="3097767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82EC249-2E7D-4990-8029-643BC585921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23072" y="2949623"/>
            <a:ext cx="3097767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279ECCC-993D-414E-9C63-C45F54EAAC0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58202" y="2949623"/>
            <a:ext cx="3097767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9" name="Picture 18" descr="darkest-green-horz.png">
            <a:extLst>
              <a:ext uri="{FF2B5EF4-FFF2-40B4-BE49-F238E27FC236}">
                <a16:creationId xmlns:a16="http://schemas.microsoft.com/office/drawing/2014/main" id="{B9E35B7B-7210-4D32-993D-BB7FFBD248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736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DB23B654-CDBA-48BA-8D36-CC992215A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4" t="8999" r="41083" b="2615"/>
          <a:stretch/>
        </p:blipFill>
        <p:spPr>
          <a:xfrm>
            <a:off x="5353857" y="0"/>
            <a:ext cx="6838145" cy="6858001"/>
          </a:xfrm>
          <a:custGeom>
            <a:avLst/>
            <a:gdLst>
              <a:gd name="connsiteX0" fmla="*/ 0 w 6838145"/>
              <a:gd name="connsiteY0" fmla="*/ 0 h 6858001"/>
              <a:gd name="connsiteX1" fmla="*/ 6838145 w 6838145"/>
              <a:gd name="connsiteY1" fmla="*/ 0 h 6858001"/>
              <a:gd name="connsiteX2" fmla="*/ 6838145 w 6838145"/>
              <a:gd name="connsiteY2" fmla="*/ 6858001 h 6858001"/>
              <a:gd name="connsiteX3" fmla="*/ 3977639 w 6838145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38145" h="6858001">
                <a:moveTo>
                  <a:pt x="0" y="0"/>
                </a:moveTo>
                <a:lnTo>
                  <a:pt x="6838145" y="0"/>
                </a:lnTo>
                <a:lnTo>
                  <a:pt x="6838145" y="6858001"/>
                </a:lnTo>
                <a:lnTo>
                  <a:pt x="3977639" y="6858001"/>
                </a:lnTo>
                <a:close/>
              </a:path>
            </a:pathLst>
          </a:cu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196543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08629" y="3059668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708629" y="3002464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9CA6914-D509-4338-AD68-6F7074A7E8A7}"/>
              </a:ext>
            </a:extLst>
          </p:cNvPr>
          <p:cNvSpPr/>
          <p:nvPr userDrawn="1"/>
        </p:nvSpPr>
        <p:spPr>
          <a:xfrm flipV="1">
            <a:off x="5248325" y="696685"/>
            <a:ext cx="5448806" cy="5464628"/>
          </a:xfrm>
          <a:custGeom>
            <a:avLst/>
            <a:gdLst>
              <a:gd name="connsiteX0" fmla="*/ 0 w 6838145"/>
              <a:gd name="connsiteY0" fmla="*/ 6858001 h 6858001"/>
              <a:gd name="connsiteX1" fmla="*/ 6838145 w 6838145"/>
              <a:gd name="connsiteY1" fmla="*/ 6858001 h 6858001"/>
              <a:gd name="connsiteX2" fmla="*/ 6838145 w 6838145"/>
              <a:gd name="connsiteY2" fmla="*/ 0 h 6858001"/>
              <a:gd name="connsiteX3" fmla="*/ 3977639 w 6838145"/>
              <a:gd name="connsiteY3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38145" h="6858001">
                <a:moveTo>
                  <a:pt x="0" y="6858001"/>
                </a:moveTo>
                <a:lnTo>
                  <a:pt x="6838145" y="6858001"/>
                </a:lnTo>
                <a:lnTo>
                  <a:pt x="6838145" y="0"/>
                </a:lnTo>
                <a:lnTo>
                  <a:pt x="3977639" y="0"/>
                </a:lnTo>
                <a:close/>
              </a:path>
            </a:pathLst>
          </a:custGeom>
          <a:solidFill>
            <a:srgbClr val="56A5C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9" name="Picture 8" descr="darkest-green-horz.png">
            <a:extLst>
              <a:ext uri="{FF2B5EF4-FFF2-40B4-BE49-F238E27FC236}">
                <a16:creationId xmlns:a16="http://schemas.microsoft.com/office/drawing/2014/main" id="{D38A2522-B388-4BB1-A04F-96B7813D0D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885" y="5479418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964682"/>
      </p:ext>
    </p:extLst>
  </p:cSld>
  <p:clrMapOvr>
    <a:masterClrMapping/>
  </p:clrMapOvr>
  <p:transition spd="slow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394F47E6-7940-4964-A15F-3FD2D0F4FD66}"/>
              </a:ext>
            </a:extLst>
          </p:cNvPr>
          <p:cNvSpPr/>
          <p:nvPr userDrawn="1"/>
        </p:nvSpPr>
        <p:spPr>
          <a:xfrm>
            <a:off x="8516173" y="2197100"/>
            <a:ext cx="2311484" cy="3340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50949A9-154C-4B9E-80FC-934A803403AE}"/>
              </a:ext>
            </a:extLst>
          </p:cNvPr>
          <p:cNvSpPr/>
          <p:nvPr userDrawn="1"/>
        </p:nvSpPr>
        <p:spPr>
          <a:xfrm>
            <a:off x="6028815" y="2197100"/>
            <a:ext cx="2311484" cy="33401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7BF5C70-E158-466C-8B05-ED8F6D892F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4100" y="1675173"/>
            <a:ext cx="2311484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26099-856D-4E82-9E8B-D1DE5B604AB3}"/>
              </a:ext>
            </a:extLst>
          </p:cNvPr>
          <p:cNvSpPr/>
          <p:nvPr userDrawn="1"/>
        </p:nvSpPr>
        <p:spPr>
          <a:xfrm>
            <a:off x="1054100" y="2197100"/>
            <a:ext cx="2311484" cy="3340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64C34CA-4377-41CF-AC9A-90CBD8274FC5}"/>
              </a:ext>
            </a:extLst>
          </p:cNvPr>
          <p:cNvSpPr/>
          <p:nvPr userDrawn="1"/>
        </p:nvSpPr>
        <p:spPr>
          <a:xfrm>
            <a:off x="3541458" y="2197100"/>
            <a:ext cx="2311484" cy="3340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5284CA75-947A-4B8B-9B73-DC9C87315B9B}"/>
              </a:ext>
            </a:extLst>
          </p:cNvPr>
          <p:cNvSpPr/>
          <p:nvPr userDrawn="1"/>
        </p:nvSpPr>
        <p:spPr>
          <a:xfrm>
            <a:off x="1054100" y="5581650"/>
            <a:ext cx="10083800" cy="430887"/>
          </a:xfrm>
          <a:prstGeom prst="rightArrow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69471C4-B0E1-4604-BF6B-D549D5E325E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41458" y="1675173"/>
            <a:ext cx="2311484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8E8BC38-FE41-4471-BEAE-CAEEEA86A56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028816" y="1675173"/>
            <a:ext cx="2311484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5AC46121-E97C-454D-A219-B6BC056923A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516173" y="1675173"/>
            <a:ext cx="2311484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D5040DA-EC5D-43B9-A89A-3978782A4D6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51934" y="3744040"/>
            <a:ext cx="211581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5BB48EC-B024-4F1D-B221-8439A6B5451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639292" y="3744040"/>
            <a:ext cx="211581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847953C-E250-487E-8C5A-1528A2BFA01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26649" y="3744040"/>
            <a:ext cx="211581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2A4EC412-8033-4F5C-A471-682BC78D62D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614007" y="3744040"/>
            <a:ext cx="211581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20" name="Picture 19" descr="darkest-green-horz.png">
            <a:extLst>
              <a:ext uri="{FF2B5EF4-FFF2-40B4-BE49-F238E27FC236}">
                <a16:creationId xmlns:a16="http://schemas.microsoft.com/office/drawing/2014/main" id="{102828A7-1913-49D6-BD81-F782B189F3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1971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91D1BB-CEF8-49A9-BE71-3D89F82F8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3082135"/>
            <a:ext cx="1963381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EB9689A-F9BB-4508-9AF2-B933D209B8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3700" y="3535338"/>
            <a:ext cx="196338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5BCE2F5-9ABB-4D23-BC9F-0672C69A1CF4}"/>
              </a:ext>
            </a:extLst>
          </p:cNvPr>
          <p:cNvSpPr>
            <a:spLocks noChangeAspect="1"/>
          </p:cNvSpPr>
          <p:nvPr userDrawn="1"/>
        </p:nvSpPr>
        <p:spPr>
          <a:xfrm>
            <a:off x="704830" y="1555882"/>
            <a:ext cx="1341120" cy="1341120"/>
          </a:xfrm>
          <a:prstGeom prst="ellipse">
            <a:avLst/>
          </a:prstGeom>
          <a:solidFill>
            <a:srgbClr val="E7E6E6"/>
          </a:solidFill>
          <a:ln w="12700" cap="flat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1EDF396-5354-42D3-B02C-B42736739AB4}"/>
              </a:ext>
            </a:extLst>
          </p:cNvPr>
          <p:cNvSpPr>
            <a:spLocks noChangeAspect="1"/>
          </p:cNvSpPr>
          <p:nvPr userDrawn="1"/>
        </p:nvSpPr>
        <p:spPr>
          <a:xfrm>
            <a:off x="884410" y="1735462"/>
            <a:ext cx="981960" cy="981960"/>
          </a:xfrm>
          <a:prstGeom prst="ellipse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36BA3D2-46E8-46A0-AEBA-700B39C38637}"/>
              </a:ext>
            </a:extLst>
          </p:cNvPr>
          <p:cNvSpPr>
            <a:spLocks noChangeAspect="1"/>
          </p:cNvSpPr>
          <p:nvPr userDrawn="1"/>
        </p:nvSpPr>
        <p:spPr>
          <a:xfrm>
            <a:off x="3065135" y="1555882"/>
            <a:ext cx="1341120" cy="1341120"/>
          </a:xfrm>
          <a:prstGeom prst="ellipse">
            <a:avLst/>
          </a:prstGeom>
          <a:solidFill>
            <a:srgbClr val="E7E6E6"/>
          </a:solidFill>
          <a:ln w="12700" cap="flat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62655CD-DD57-4ED9-AB03-E0A11170152C}"/>
              </a:ext>
            </a:extLst>
          </p:cNvPr>
          <p:cNvSpPr>
            <a:spLocks noChangeAspect="1"/>
          </p:cNvSpPr>
          <p:nvPr userDrawn="1"/>
        </p:nvSpPr>
        <p:spPr>
          <a:xfrm>
            <a:off x="3244715" y="1735462"/>
            <a:ext cx="981960" cy="981960"/>
          </a:xfrm>
          <a:prstGeom prst="ellipse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5C064D2-0DD7-4648-9A13-811E6639601F}"/>
              </a:ext>
            </a:extLst>
          </p:cNvPr>
          <p:cNvSpPr>
            <a:spLocks noChangeAspect="1"/>
          </p:cNvSpPr>
          <p:nvPr userDrawn="1"/>
        </p:nvSpPr>
        <p:spPr>
          <a:xfrm>
            <a:off x="5425440" y="1555882"/>
            <a:ext cx="1341120" cy="1341120"/>
          </a:xfrm>
          <a:prstGeom prst="ellipse">
            <a:avLst/>
          </a:prstGeom>
          <a:solidFill>
            <a:srgbClr val="E7E6E6"/>
          </a:solidFill>
          <a:ln w="12700" cap="flat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5551B21-9360-486F-9597-5FACEDB05D7A}"/>
              </a:ext>
            </a:extLst>
          </p:cNvPr>
          <p:cNvSpPr>
            <a:spLocks noChangeAspect="1"/>
          </p:cNvSpPr>
          <p:nvPr userDrawn="1"/>
        </p:nvSpPr>
        <p:spPr>
          <a:xfrm>
            <a:off x="5605020" y="1735462"/>
            <a:ext cx="981960" cy="981960"/>
          </a:xfrm>
          <a:prstGeom prst="ellipse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A5BCCE9C-8E66-4093-84AA-C10D5A3C0A7E}"/>
              </a:ext>
            </a:extLst>
          </p:cNvPr>
          <p:cNvSpPr>
            <a:spLocks noChangeAspect="1"/>
          </p:cNvSpPr>
          <p:nvPr userDrawn="1"/>
        </p:nvSpPr>
        <p:spPr>
          <a:xfrm>
            <a:off x="7785744" y="1555882"/>
            <a:ext cx="1341120" cy="1341120"/>
          </a:xfrm>
          <a:prstGeom prst="ellipse">
            <a:avLst/>
          </a:prstGeom>
          <a:solidFill>
            <a:srgbClr val="E7E6E6"/>
          </a:solidFill>
          <a:ln w="12700" cap="flat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06F6FFF-0B76-4780-8AD7-C32811DB1F3B}"/>
              </a:ext>
            </a:extLst>
          </p:cNvPr>
          <p:cNvSpPr>
            <a:spLocks noChangeAspect="1"/>
          </p:cNvSpPr>
          <p:nvPr userDrawn="1"/>
        </p:nvSpPr>
        <p:spPr>
          <a:xfrm>
            <a:off x="7965324" y="1735462"/>
            <a:ext cx="981960" cy="981960"/>
          </a:xfrm>
          <a:prstGeom prst="ellipse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B1CBC482-8E8D-4A6C-957E-30D69746E6CB}"/>
              </a:ext>
            </a:extLst>
          </p:cNvPr>
          <p:cNvSpPr>
            <a:spLocks noChangeAspect="1"/>
          </p:cNvSpPr>
          <p:nvPr userDrawn="1"/>
        </p:nvSpPr>
        <p:spPr>
          <a:xfrm>
            <a:off x="10146049" y="1555882"/>
            <a:ext cx="1341120" cy="1341120"/>
          </a:xfrm>
          <a:prstGeom prst="ellipse">
            <a:avLst/>
          </a:prstGeom>
          <a:solidFill>
            <a:srgbClr val="E7E6E6"/>
          </a:solidFill>
          <a:ln w="12700" cap="flat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1DE38BB-86C0-4DC4-8AF4-5C49BF251470}"/>
              </a:ext>
            </a:extLst>
          </p:cNvPr>
          <p:cNvSpPr>
            <a:spLocks noChangeAspect="1"/>
          </p:cNvSpPr>
          <p:nvPr userDrawn="1"/>
        </p:nvSpPr>
        <p:spPr>
          <a:xfrm>
            <a:off x="10325629" y="1735462"/>
            <a:ext cx="981960" cy="981960"/>
          </a:xfrm>
          <a:prstGeom prst="ellipse">
            <a:avLst/>
          </a:prstGeom>
          <a:solidFill>
            <a:schemeClr val="bg1"/>
          </a:solidFill>
          <a:ln w="12700" cap="flat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A3A66B3-F6AA-458F-9778-F27BD2310A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754005" y="3535338"/>
            <a:ext cx="196338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0E62D6A-156F-4DFA-ABD2-82F30BB3DF4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14310" y="3535338"/>
            <a:ext cx="196338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BAD7421-F932-44BB-894F-3C6DD891CFD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474615" y="3535338"/>
            <a:ext cx="196338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DA3B409-894D-4D2D-BBF7-ACAED503F3E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834919" y="3535338"/>
            <a:ext cx="1963381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5E650EA-AB53-4719-973C-7E4D39F21EB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754005" y="3082135"/>
            <a:ext cx="1963381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0B145BC-03CF-45F0-A134-F99731EC00D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14310" y="3082135"/>
            <a:ext cx="1963381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4B8F9D3-51D2-4F87-AD00-5EFA9C932D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474615" y="3082135"/>
            <a:ext cx="1963381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C80DE96E-2CD5-4E8B-B075-DB300DD39E3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834919" y="3082135"/>
            <a:ext cx="1963381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pic>
        <p:nvPicPr>
          <p:cNvPr id="27" name="Picture 26" descr="darkest-green-horz.png">
            <a:extLst>
              <a:ext uri="{FF2B5EF4-FFF2-40B4-BE49-F238E27FC236}">
                <a16:creationId xmlns:a16="http://schemas.microsoft.com/office/drawing/2014/main" id="{14B3353E-5008-4280-9610-BA05F86973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621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11CFBBE-CE6A-4F36-8838-348C068A36B9}"/>
              </a:ext>
            </a:extLst>
          </p:cNvPr>
          <p:cNvSpPr/>
          <p:nvPr userDrawn="1"/>
        </p:nvSpPr>
        <p:spPr>
          <a:xfrm>
            <a:off x="393700" y="22860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8B7767-1EF1-4A3C-912E-853F50193651}"/>
              </a:ext>
            </a:extLst>
          </p:cNvPr>
          <p:cNvSpPr/>
          <p:nvPr userDrawn="1"/>
        </p:nvSpPr>
        <p:spPr>
          <a:xfrm>
            <a:off x="4335042" y="22860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1A3D35C-1FF2-4B65-8BA9-0F679A416B59}"/>
              </a:ext>
            </a:extLst>
          </p:cNvPr>
          <p:cNvSpPr/>
          <p:nvPr userDrawn="1"/>
        </p:nvSpPr>
        <p:spPr>
          <a:xfrm>
            <a:off x="8276384" y="22860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EA305DB-DD1E-446F-94FB-A7F85BC5DF1E}"/>
              </a:ext>
            </a:extLst>
          </p:cNvPr>
          <p:cNvSpPr/>
          <p:nvPr userDrawn="1"/>
        </p:nvSpPr>
        <p:spPr>
          <a:xfrm>
            <a:off x="393700" y="203785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637E6E6-64FD-48CA-BB1A-2250D611B806}"/>
              </a:ext>
            </a:extLst>
          </p:cNvPr>
          <p:cNvSpPr/>
          <p:nvPr userDrawn="1"/>
        </p:nvSpPr>
        <p:spPr>
          <a:xfrm>
            <a:off x="4335042" y="203785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59E7C6-5F50-43B7-A2BC-4829208CDA68}"/>
              </a:ext>
            </a:extLst>
          </p:cNvPr>
          <p:cNvSpPr/>
          <p:nvPr userDrawn="1"/>
        </p:nvSpPr>
        <p:spPr>
          <a:xfrm>
            <a:off x="8276384" y="203785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09E65A1-5376-4E70-AE96-BBC246EE2569}"/>
              </a:ext>
            </a:extLst>
          </p:cNvPr>
          <p:cNvSpPr/>
          <p:nvPr userDrawn="1"/>
        </p:nvSpPr>
        <p:spPr>
          <a:xfrm>
            <a:off x="393700" y="194260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F2730220-6F97-4F1B-A380-30B5DE9E3067}"/>
              </a:ext>
            </a:extLst>
          </p:cNvPr>
          <p:cNvSpPr/>
          <p:nvPr userDrawn="1"/>
        </p:nvSpPr>
        <p:spPr>
          <a:xfrm>
            <a:off x="4335042" y="194260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A93AE0A-1D9D-4F5E-BCCD-2993DAD9E5D0}"/>
              </a:ext>
            </a:extLst>
          </p:cNvPr>
          <p:cNvSpPr/>
          <p:nvPr userDrawn="1"/>
        </p:nvSpPr>
        <p:spPr>
          <a:xfrm>
            <a:off x="8276384" y="1942608"/>
            <a:ext cx="3521916" cy="1000333"/>
          </a:xfrm>
          <a:custGeom>
            <a:avLst/>
            <a:gdLst>
              <a:gd name="connsiteX0" fmla="*/ 42069 w 4733926"/>
              <a:gd name="connsiteY0" fmla="*/ 0 h 1151097"/>
              <a:gd name="connsiteX1" fmla="*/ 4691857 w 4733926"/>
              <a:gd name="connsiteY1" fmla="*/ 0 h 1151097"/>
              <a:gd name="connsiteX2" fmla="*/ 4733926 w 4733926"/>
              <a:gd name="connsiteY2" fmla="*/ 42069 h 1151097"/>
              <a:gd name="connsiteX3" fmla="*/ 4733926 w 4733926"/>
              <a:gd name="connsiteY3" fmla="*/ 309562 h 1151097"/>
              <a:gd name="connsiteX4" fmla="*/ 4733926 w 4733926"/>
              <a:gd name="connsiteY4" fmla="*/ 333056 h 1151097"/>
              <a:gd name="connsiteX5" fmla="*/ 2654291 w 4733926"/>
              <a:gd name="connsiteY5" fmla="*/ 1112286 h 1151097"/>
              <a:gd name="connsiteX6" fmla="*/ 2125746 w 4733926"/>
              <a:gd name="connsiteY6" fmla="*/ 1112745 h 1151097"/>
              <a:gd name="connsiteX7" fmla="*/ 0 w 4733926"/>
              <a:gd name="connsiteY7" fmla="*/ 367199 h 1151097"/>
              <a:gd name="connsiteX8" fmla="*/ 0 w 4733926"/>
              <a:gd name="connsiteY8" fmla="*/ 309562 h 1151097"/>
              <a:gd name="connsiteX9" fmla="*/ 0 w 4733926"/>
              <a:gd name="connsiteY9" fmla="*/ 42069 h 1151097"/>
              <a:gd name="connsiteX10" fmla="*/ 42069 w 4733926"/>
              <a:gd name="connsiteY10" fmla="*/ 0 h 1151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33926" h="1151097">
                <a:moveTo>
                  <a:pt x="42069" y="0"/>
                </a:moveTo>
                <a:lnTo>
                  <a:pt x="4691857" y="0"/>
                </a:lnTo>
                <a:cubicBezTo>
                  <a:pt x="4715091" y="0"/>
                  <a:pt x="4733926" y="18835"/>
                  <a:pt x="4733926" y="42069"/>
                </a:cubicBezTo>
                <a:lnTo>
                  <a:pt x="4733926" y="309562"/>
                </a:lnTo>
                <a:lnTo>
                  <a:pt x="4733926" y="333056"/>
                </a:lnTo>
                <a:cubicBezTo>
                  <a:pt x="4040714" y="578588"/>
                  <a:pt x="3347502" y="866754"/>
                  <a:pt x="2654291" y="1112286"/>
                </a:cubicBezTo>
                <a:cubicBezTo>
                  <a:pt x="2508697" y="1163855"/>
                  <a:pt x="2272060" y="1164060"/>
                  <a:pt x="2125746" y="1112745"/>
                </a:cubicBezTo>
                <a:lnTo>
                  <a:pt x="0" y="367199"/>
                </a:lnTo>
                <a:lnTo>
                  <a:pt x="0" y="309562"/>
                </a:lnTo>
                <a:lnTo>
                  <a:pt x="0" y="42069"/>
                </a:lnTo>
                <a:cubicBezTo>
                  <a:pt x="0" y="18835"/>
                  <a:pt x="18835" y="0"/>
                  <a:pt x="420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91D1BB-CEF8-49A9-BE71-3D89F82F8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0868" y="2146176"/>
            <a:ext cx="310758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A6940E9-E660-40F4-8026-18CFE0701B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42210" y="2146176"/>
            <a:ext cx="310758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69546F7-FA08-4021-A62D-68DF89B4F1C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83552" y="2146176"/>
            <a:ext cx="310758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EB9689A-F9BB-4508-9AF2-B933D209B8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868" y="3157196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0499349-C660-44C9-8B35-42D970AFEB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42210" y="3157196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406F80-C525-4861-A9B1-3394414720C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83552" y="3157196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2" name="Picture 31" descr="darkest-green-horz.png">
            <a:extLst>
              <a:ext uri="{FF2B5EF4-FFF2-40B4-BE49-F238E27FC236}">
                <a16:creationId xmlns:a16="http://schemas.microsoft.com/office/drawing/2014/main" id="{C914D37F-8F46-4ACB-90A7-E3F6D88B7E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1900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4EF25245-2188-4F5C-96AE-1FDCFCC3520F}"/>
              </a:ext>
            </a:extLst>
          </p:cNvPr>
          <p:cNvSpPr/>
          <p:nvPr userDrawn="1"/>
        </p:nvSpPr>
        <p:spPr>
          <a:xfrm>
            <a:off x="393700" y="1714500"/>
            <a:ext cx="3521916" cy="87629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AA2AABB-5D53-4D9E-8F19-60E07B8E097B}"/>
              </a:ext>
            </a:extLst>
          </p:cNvPr>
          <p:cNvSpPr/>
          <p:nvPr userDrawn="1"/>
        </p:nvSpPr>
        <p:spPr>
          <a:xfrm>
            <a:off x="393700" y="25908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FD73944-3244-4C9B-85DA-6AABCAA09BAE}"/>
              </a:ext>
            </a:extLst>
          </p:cNvPr>
          <p:cNvSpPr/>
          <p:nvPr userDrawn="1"/>
        </p:nvSpPr>
        <p:spPr>
          <a:xfrm>
            <a:off x="4335042" y="1714500"/>
            <a:ext cx="3521916" cy="87629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651678D-952A-4C45-B465-E9B217AAA93D}"/>
              </a:ext>
            </a:extLst>
          </p:cNvPr>
          <p:cNvSpPr/>
          <p:nvPr userDrawn="1"/>
        </p:nvSpPr>
        <p:spPr>
          <a:xfrm>
            <a:off x="4335042" y="25908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7BF6086-9C65-4186-802C-0FF9924B8398}"/>
              </a:ext>
            </a:extLst>
          </p:cNvPr>
          <p:cNvSpPr/>
          <p:nvPr userDrawn="1"/>
        </p:nvSpPr>
        <p:spPr>
          <a:xfrm>
            <a:off x="8276384" y="1714500"/>
            <a:ext cx="3521916" cy="87629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D7B930-80FF-4491-A811-D43C2DE567F3}"/>
              </a:ext>
            </a:extLst>
          </p:cNvPr>
          <p:cNvSpPr/>
          <p:nvPr userDrawn="1"/>
        </p:nvSpPr>
        <p:spPr>
          <a:xfrm>
            <a:off x="8276384" y="2590800"/>
            <a:ext cx="3521916" cy="3086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91D1BB-CEF8-49A9-BE71-3D89F82F8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9079" y="1998761"/>
            <a:ext cx="31075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EB9689A-F9BB-4508-9AF2-B933D209B8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868" y="2734837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58C7FD8-1F5F-4B9F-BEC6-EF3100DE50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42210" y="1998761"/>
            <a:ext cx="31075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0499349-C660-44C9-8B35-42D970AFEB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42210" y="2734837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A3A2445-24EE-44D6-9CDE-4E5A26EE65B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535341" y="1998761"/>
            <a:ext cx="31075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406F80-C525-4861-A9B1-3394414720C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83552" y="2734837"/>
            <a:ext cx="3107580" cy="24622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9" name="Picture 18" descr="darkest-green-horz.png">
            <a:extLst>
              <a:ext uri="{FF2B5EF4-FFF2-40B4-BE49-F238E27FC236}">
                <a16:creationId xmlns:a16="http://schemas.microsoft.com/office/drawing/2014/main" id="{C1DC58E9-207E-4C2E-A593-5344E1BCE8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8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91D1BB-CEF8-49A9-BE71-3D89F82F8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0" y="3981763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EB9689A-F9BB-4508-9AF2-B933D209B8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3700" y="4335037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184FF195-C1AA-46F4-99D7-556B2F304411}"/>
              </a:ext>
            </a:extLst>
          </p:cNvPr>
          <p:cNvSpPr/>
          <p:nvPr userDrawn="1"/>
        </p:nvSpPr>
        <p:spPr>
          <a:xfrm>
            <a:off x="393700" y="1976290"/>
            <a:ext cx="11404600" cy="1811939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C30A6A6-342C-4AD9-ABB5-A614FBF3144D}"/>
              </a:ext>
            </a:extLst>
          </p:cNvPr>
          <p:cNvCxnSpPr>
            <a:stCxn id="42" idx="6"/>
            <a:endCxn id="48" idx="2"/>
          </p:cNvCxnSpPr>
          <p:nvPr userDrawn="1"/>
        </p:nvCxnSpPr>
        <p:spPr>
          <a:xfrm>
            <a:off x="2502267" y="2858844"/>
            <a:ext cx="718746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B6323F6-B2F9-4E66-9AB6-29F7665F958D}"/>
              </a:ext>
            </a:extLst>
          </p:cNvPr>
          <p:cNvGrpSpPr/>
          <p:nvPr userDrawn="1"/>
        </p:nvGrpSpPr>
        <p:grpSpPr>
          <a:xfrm>
            <a:off x="1499336" y="2255310"/>
            <a:ext cx="1207066" cy="1207066"/>
            <a:chOff x="6833284" y="1791903"/>
            <a:chExt cx="1507040" cy="150704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47044C0-0A7F-42D5-A50B-466E3AB5076F}"/>
                </a:ext>
              </a:extLst>
            </p:cNvPr>
            <p:cNvGrpSpPr/>
            <p:nvPr/>
          </p:nvGrpSpPr>
          <p:grpSpPr>
            <a:xfrm>
              <a:off x="6833284" y="1791903"/>
              <a:ext cx="1507040" cy="1507040"/>
              <a:chOff x="7109496" y="1206328"/>
              <a:chExt cx="983647" cy="983647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469A708D-89F7-400D-8B1F-3CD0B90954C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83631" y="1280463"/>
                <a:ext cx="835378" cy="835378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0322581-F644-4A9A-A3EE-859E5BE76B5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09496" y="1206328"/>
                <a:ext cx="983647" cy="983647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385C525-BE1C-4BF0-8EA2-EF502A316C3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5848" y="1372680"/>
                <a:ext cx="650944" cy="6509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2A973074-614B-4164-9F21-CFD2EB796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7235918" y="2284428"/>
              <a:ext cx="652487" cy="521990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237AB98-8156-4037-8851-5F2FC5F1FA3F}"/>
              </a:ext>
            </a:extLst>
          </p:cNvPr>
          <p:cNvGrpSpPr/>
          <p:nvPr userDrawn="1"/>
        </p:nvGrpSpPr>
        <p:grpSpPr>
          <a:xfrm>
            <a:off x="9485598" y="2255310"/>
            <a:ext cx="1207066" cy="1207066"/>
            <a:chOff x="9257734" y="2255310"/>
            <a:chExt cx="1207066" cy="1207066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A376BB8-D081-4298-AC63-7254B071976F}"/>
                </a:ext>
              </a:extLst>
            </p:cNvPr>
            <p:cNvGrpSpPr/>
            <p:nvPr/>
          </p:nvGrpSpPr>
          <p:grpSpPr>
            <a:xfrm>
              <a:off x="9257734" y="2255310"/>
              <a:ext cx="1207066" cy="1207066"/>
              <a:chOff x="7109496" y="1206328"/>
              <a:chExt cx="983647" cy="983647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DF3D17E2-AEC7-4F25-8AEC-85C87DFB26E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83631" y="1280463"/>
                <a:ext cx="835378" cy="835378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64BA083-20B0-4355-A541-070FC53226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09496" y="1206328"/>
                <a:ext cx="983647" cy="983647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249152F6-918D-4D3D-8E96-E0B7EFAB16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5848" y="1372680"/>
                <a:ext cx="650944" cy="6509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E79895BB-AED9-44D9-B415-BCB28D723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645313" y="2642889"/>
              <a:ext cx="431909" cy="431909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108BBED-3341-4932-AF61-635B02620D5E}"/>
              </a:ext>
            </a:extLst>
          </p:cNvPr>
          <p:cNvGrpSpPr/>
          <p:nvPr userDrawn="1"/>
        </p:nvGrpSpPr>
        <p:grpSpPr>
          <a:xfrm>
            <a:off x="5492467" y="2255310"/>
            <a:ext cx="1207066" cy="1207066"/>
            <a:chOff x="4888934" y="2255310"/>
            <a:chExt cx="1207066" cy="1207066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66E56EC-0194-4C3F-A424-C85B7EB7FC37}"/>
                </a:ext>
              </a:extLst>
            </p:cNvPr>
            <p:cNvGrpSpPr/>
            <p:nvPr/>
          </p:nvGrpSpPr>
          <p:grpSpPr>
            <a:xfrm>
              <a:off x="4888934" y="2255310"/>
              <a:ext cx="1207066" cy="1207066"/>
              <a:chOff x="7109496" y="1206328"/>
              <a:chExt cx="983647" cy="983647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124EA11C-650B-4966-BC00-3424A02AFB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83631" y="1280463"/>
                <a:ext cx="835378" cy="835378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2C9894E-72BC-4167-8DFE-2E85429FB5F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09496" y="1206328"/>
                <a:ext cx="983647" cy="983647"/>
              </a:xfrm>
              <a:prstGeom prst="ellipse">
                <a:avLst/>
              </a:pr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7396B99-CCE7-4ABF-9A6D-A90F16B12A0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5848" y="1372680"/>
                <a:ext cx="650944" cy="6509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31C9B841-1472-4CEF-9799-CA898798F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5276513" y="2642889"/>
              <a:ext cx="431909" cy="431909"/>
            </a:xfrm>
            <a:prstGeom prst="rect">
              <a:avLst/>
            </a:prstGeom>
          </p:spPr>
        </p:pic>
      </p:grp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58C7FD8-1F5F-4B9F-BEC6-EF3100DE50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86831" y="3981763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0499349-C660-44C9-8B35-42D970AFEB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86831" y="4335037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A3A2445-24EE-44D6-9CDE-4E5A26EE65B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79962" y="3981763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2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Main header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406F80-C525-4861-A9B1-3394414720C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79962" y="4335037"/>
            <a:ext cx="34183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3" name="Picture 32" descr="darkest-green-horz.png">
            <a:extLst>
              <a:ext uri="{FF2B5EF4-FFF2-40B4-BE49-F238E27FC236}">
                <a16:creationId xmlns:a16="http://schemas.microsoft.com/office/drawing/2014/main" id="{82E0A5E1-FDB6-48F4-A86D-46FFD6FB0AC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6059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38B44C-C263-46C1-976B-9154C6C54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38B44C-C263-46C1-976B-9154C6C54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 vert="horz" wrap="square" lIns="0" tIns="0" rIns="0" bIns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2808" y="6553200"/>
            <a:ext cx="155492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AD32B5-1D4A-4C50-A7A5-E47AE2489C57}"/>
              </a:ext>
            </a:extLst>
          </p:cNvPr>
          <p:cNvCxnSpPr>
            <a:cxnSpLocks/>
          </p:cNvCxnSpPr>
          <p:nvPr userDrawn="1"/>
        </p:nvCxnSpPr>
        <p:spPr>
          <a:xfrm>
            <a:off x="393700" y="185177"/>
            <a:ext cx="666750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C2E3A3A-9FC1-46DB-87B0-6D75650C9775}"/>
              </a:ext>
            </a:extLst>
          </p:cNvPr>
          <p:cNvSpPr/>
          <p:nvPr userDrawn="1"/>
        </p:nvSpPr>
        <p:spPr>
          <a:xfrm>
            <a:off x="393700" y="1227059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B9B3298-E7CB-45D1-8BAA-B155DA2033D1}"/>
              </a:ext>
            </a:extLst>
          </p:cNvPr>
          <p:cNvSpPr/>
          <p:nvPr userDrawn="1"/>
        </p:nvSpPr>
        <p:spPr>
          <a:xfrm>
            <a:off x="393700" y="3055858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F714A4B-65F6-45F7-AF59-6E7760A3D120}"/>
              </a:ext>
            </a:extLst>
          </p:cNvPr>
          <p:cNvSpPr/>
          <p:nvPr userDrawn="1"/>
        </p:nvSpPr>
        <p:spPr>
          <a:xfrm>
            <a:off x="393700" y="4884657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1979A29-F4D7-404D-A73D-E2FA1EF313DA}"/>
              </a:ext>
            </a:extLst>
          </p:cNvPr>
          <p:cNvSpPr/>
          <p:nvPr userDrawn="1"/>
        </p:nvSpPr>
        <p:spPr>
          <a:xfrm>
            <a:off x="3737515" y="1366691"/>
            <a:ext cx="1756055" cy="9750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B18F355-DE73-46EA-8CD1-BB76B65B1417}"/>
              </a:ext>
            </a:extLst>
          </p:cNvPr>
          <p:cNvSpPr/>
          <p:nvPr userDrawn="1"/>
        </p:nvSpPr>
        <p:spPr>
          <a:xfrm>
            <a:off x="3737515" y="3195490"/>
            <a:ext cx="1756055" cy="97501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4368BD1-4570-431C-80C6-11CBCA3CC9CC}"/>
              </a:ext>
            </a:extLst>
          </p:cNvPr>
          <p:cNvSpPr/>
          <p:nvPr userDrawn="1"/>
        </p:nvSpPr>
        <p:spPr>
          <a:xfrm>
            <a:off x="3737515" y="5024289"/>
            <a:ext cx="1756055" cy="975019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C836CB3-7CFF-4D47-B5C2-61D2B2C87B98}"/>
              </a:ext>
            </a:extLst>
          </p:cNvPr>
          <p:cNvSpPr/>
          <p:nvPr userDrawn="1"/>
        </p:nvSpPr>
        <p:spPr>
          <a:xfrm>
            <a:off x="6551596" y="1227059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B298629-1B5A-4976-A224-C9628E45CEE5}"/>
              </a:ext>
            </a:extLst>
          </p:cNvPr>
          <p:cNvSpPr/>
          <p:nvPr userDrawn="1"/>
        </p:nvSpPr>
        <p:spPr>
          <a:xfrm>
            <a:off x="6551596" y="3055858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0DE0191-50BD-45A4-A907-5200C8393DB6}"/>
              </a:ext>
            </a:extLst>
          </p:cNvPr>
          <p:cNvSpPr/>
          <p:nvPr userDrawn="1"/>
        </p:nvSpPr>
        <p:spPr>
          <a:xfrm>
            <a:off x="6551596" y="4884657"/>
            <a:ext cx="5246704" cy="125428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540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67D9FDD-C36F-4BCA-A44C-6C08C41608B7}"/>
              </a:ext>
            </a:extLst>
          </p:cNvPr>
          <p:cNvSpPr/>
          <p:nvPr userDrawn="1"/>
        </p:nvSpPr>
        <p:spPr>
          <a:xfrm>
            <a:off x="9895411" y="1366691"/>
            <a:ext cx="1756055" cy="975019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9B23274-89A7-4236-B03D-BD561706C890}"/>
              </a:ext>
            </a:extLst>
          </p:cNvPr>
          <p:cNvSpPr/>
          <p:nvPr userDrawn="1"/>
        </p:nvSpPr>
        <p:spPr>
          <a:xfrm>
            <a:off x="9895411" y="3195490"/>
            <a:ext cx="1756055" cy="97501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B1E7AC4-3C9A-46E4-9376-53510A6DDF31}"/>
              </a:ext>
            </a:extLst>
          </p:cNvPr>
          <p:cNvSpPr/>
          <p:nvPr userDrawn="1"/>
        </p:nvSpPr>
        <p:spPr>
          <a:xfrm>
            <a:off x="9895411" y="5024289"/>
            <a:ext cx="1756055" cy="9750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E93615E-FAAD-4A52-8675-763DA9FFC0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5917" y="1746478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8042083-302F-4840-9E71-3815C91DA3D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5917" y="3575277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EE53FC2-AEA6-483F-A4A9-B9107F21629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5917" y="5404076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EF82752-ADCA-4420-AE51-E0D50944F0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73813" y="1746478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487527D-8107-469E-AAC2-D95A0F45E39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873813" y="3575277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1920A30-45F4-4B79-9AE3-71807504CE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873813" y="5404076"/>
            <a:ext cx="2863306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558800" indent="-266700">
              <a:lnSpc>
                <a:spcPct val="100000"/>
              </a:lnSpc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2pPr>
            <a:lvl3pPr marL="812800" indent="-254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–"/>
              <a:defRPr sz="1600"/>
            </a:lvl3pPr>
            <a:lvl4pPr marL="1016000" indent="-228600">
              <a:lnSpc>
                <a:spcPct val="100000"/>
              </a:lnSpc>
              <a:buClr>
                <a:schemeClr val="tx2"/>
              </a:buClr>
              <a:defRPr sz="1600"/>
            </a:lvl4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28" name="Picture 27" descr="darkest-green-horz.png">
            <a:extLst>
              <a:ext uri="{FF2B5EF4-FFF2-40B4-BE49-F238E27FC236}">
                <a16:creationId xmlns:a16="http://schemas.microsoft.com/office/drawing/2014/main" id="{CE97E4CF-7729-4CC7-9727-43B20A40A9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3374" y="-206656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60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231727B-6BE4-4481-A0EC-B06A7995716E}"/>
              </a:ext>
            </a:extLst>
          </p:cNvPr>
          <p:cNvSpPr/>
          <p:nvPr userDrawn="1"/>
        </p:nvSpPr>
        <p:spPr>
          <a:xfrm>
            <a:off x="0" y="2061029"/>
            <a:ext cx="3500743" cy="4796971"/>
          </a:xfrm>
          <a:custGeom>
            <a:avLst/>
            <a:gdLst>
              <a:gd name="connsiteX0" fmla="*/ 0 w 5004843"/>
              <a:gd name="connsiteY0" fmla="*/ 0 h 6857999"/>
              <a:gd name="connsiteX1" fmla="*/ 1460216 w 5004843"/>
              <a:gd name="connsiteY1" fmla="*/ 0 h 6857999"/>
              <a:gd name="connsiteX2" fmla="*/ 5004843 w 5004843"/>
              <a:gd name="connsiteY2" fmla="*/ 2578909 h 6857999"/>
              <a:gd name="connsiteX3" fmla="*/ 3616416 w 5004843"/>
              <a:gd name="connsiteY3" fmla="*/ 6857999 h 6857999"/>
              <a:gd name="connsiteX4" fmla="*/ 0 w 500484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843" h="6857999">
                <a:moveTo>
                  <a:pt x="0" y="0"/>
                </a:moveTo>
                <a:lnTo>
                  <a:pt x="1460216" y="0"/>
                </a:lnTo>
                <a:lnTo>
                  <a:pt x="5004843" y="2578909"/>
                </a:lnTo>
                <a:lnTo>
                  <a:pt x="361641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061429" y="3824514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4061429" y="3767310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0CE2CC1-DAB1-4196-B62C-C662B07461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1886" y="5903458"/>
            <a:ext cx="1905000" cy="65722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2794132-21E5-4CF9-BAD1-13EEEFD57571}"/>
              </a:ext>
            </a:extLst>
          </p:cNvPr>
          <p:cNvSpPr/>
          <p:nvPr userDrawn="1"/>
        </p:nvSpPr>
        <p:spPr>
          <a:xfrm rot="10800000">
            <a:off x="11281064" y="-1"/>
            <a:ext cx="910935" cy="1248229"/>
          </a:xfrm>
          <a:custGeom>
            <a:avLst/>
            <a:gdLst>
              <a:gd name="connsiteX0" fmla="*/ 0 w 5004843"/>
              <a:gd name="connsiteY0" fmla="*/ 0 h 6857999"/>
              <a:gd name="connsiteX1" fmla="*/ 1460216 w 5004843"/>
              <a:gd name="connsiteY1" fmla="*/ 0 h 6857999"/>
              <a:gd name="connsiteX2" fmla="*/ 5004843 w 5004843"/>
              <a:gd name="connsiteY2" fmla="*/ 2578909 h 6857999"/>
              <a:gd name="connsiteX3" fmla="*/ 3616416 w 5004843"/>
              <a:gd name="connsiteY3" fmla="*/ 6857999 h 6857999"/>
              <a:gd name="connsiteX4" fmla="*/ 0 w 500484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843" h="6857999">
                <a:moveTo>
                  <a:pt x="0" y="0"/>
                </a:moveTo>
                <a:lnTo>
                  <a:pt x="1460216" y="0"/>
                </a:lnTo>
                <a:lnTo>
                  <a:pt x="5004843" y="2578909"/>
                </a:lnTo>
                <a:lnTo>
                  <a:pt x="361641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8449581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231727B-6BE4-4481-A0EC-B06A7995716E}"/>
              </a:ext>
            </a:extLst>
          </p:cNvPr>
          <p:cNvSpPr/>
          <p:nvPr userDrawn="1"/>
        </p:nvSpPr>
        <p:spPr>
          <a:xfrm rot="5400000" flipH="1" flipV="1">
            <a:off x="8619037" y="2544941"/>
            <a:ext cx="2269127" cy="3109321"/>
          </a:xfrm>
          <a:custGeom>
            <a:avLst/>
            <a:gdLst>
              <a:gd name="connsiteX0" fmla="*/ 0 w 5004843"/>
              <a:gd name="connsiteY0" fmla="*/ 0 h 6857999"/>
              <a:gd name="connsiteX1" fmla="*/ 1460216 w 5004843"/>
              <a:gd name="connsiteY1" fmla="*/ 0 h 6857999"/>
              <a:gd name="connsiteX2" fmla="*/ 5004843 w 5004843"/>
              <a:gd name="connsiteY2" fmla="*/ 2578909 h 6857999"/>
              <a:gd name="connsiteX3" fmla="*/ 3616416 w 5004843"/>
              <a:gd name="connsiteY3" fmla="*/ 6857999 h 6857999"/>
              <a:gd name="connsiteX4" fmla="*/ 0 w 500484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4843" h="6857999">
                <a:moveTo>
                  <a:pt x="0" y="0"/>
                </a:moveTo>
                <a:lnTo>
                  <a:pt x="1460216" y="0"/>
                </a:lnTo>
                <a:lnTo>
                  <a:pt x="5004843" y="2578909"/>
                </a:lnTo>
                <a:lnTo>
                  <a:pt x="361641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478340" y="3022242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3824136" y="2965038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BD924A6-75F8-4C82-BB42-44C0372A5DB0}"/>
              </a:ext>
            </a:extLst>
          </p:cNvPr>
          <p:cNvSpPr/>
          <p:nvPr userDrawn="1"/>
        </p:nvSpPr>
        <p:spPr>
          <a:xfrm>
            <a:off x="8198939" y="5116286"/>
            <a:ext cx="3109321" cy="1741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69AD38D-C931-4D6C-9E29-A4F20F1C35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01100" y="4576940"/>
            <a:ext cx="190500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1409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FE65B93-390B-482B-8447-ED97D6012A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6400" y="-37"/>
            <a:ext cx="11785600" cy="685807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41C2EBF-C498-4557-B04E-64938E43002D}"/>
              </a:ext>
            </a:extLst>
          </p:cNvPr>
          <p:cNvSpPr/>
          <p:nvPr userDrawn="1"/>
        </p:nvSpPr>
        <p:spPr>
          <a:xfrm>
            <a:off x="-1" y="0"/>
            <a:ext cx="229385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16B26FE-2468-4A8B-9C88-8731B5524CCF}"/>
              </a:ext>
            </a:extLst>
          </p:cNvPr>
          <p:cNvSpPr/>
          <p:nvPr userDrawn="1"/>
        </p:nvSpPr>
        <p:spPr>
          <a:xfrm>
            <a:off x="2293859" y="0"/>
            <a:ext cx="3411367" cy="6858000"/>
          </a:xfrm>
          <a:custGeom>
            <a:avLst/>
            <a:gdLst>
              <a:gd name="connsiteX0" fmla="*/ 0 w 3411367"/>
              <a:gd name="connsiteY0" fmla="*/ 0 h 6858000"/>
              <a:gd name="connsiteX1" fmla="*/ 2023387 w 3411367"/>
              <a:gd name="connsiteY1" fmla="*/ 0 h 6858000"/>
              <a:gd name="connsiteX2" fmla="*/ 2133600 w 3411367"/>
              <a:gd name="connsiteY2" fmla="*/ 237671 h 6858000"/>
              <a:gd name="connsiteX3" fmla="*/ 3062514 w 3411367"/>
              <a:gd name="connsiteY3" fmla="*/ 2656114 h 6858000"/>
              <a:gd name="connsiteX4" fmla="*/ 3164114 w 3411367"/>
              <a:gd name="connsiteY4" fmla="*/ 5588000 h 6858000"/>
              <a:gd name="connsiteX5" fmla="*/ 2186847 w 3411367"/>
              <a:gd name="connsiteY5" fmla="*/ 6710847 h 6858000"/>
              <a:gd name="connsiteX6" fmla="*/ 2005420 w 3411367"/>
              <a:gd name="connsiteY6" fmla="*/ 6858000 h 6858000"/>
              <a:gd name="connsiteX7" fmla="*/ 0 w 34113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367" h="6858000">
                <a:moveTo>
                  <a:pt x="0" y="0"/>
                </a:moveTo>
                <a:lnTo>
                  <a:pt x="2023387" y="0"/>
                </a:lnTo>
                <a:lnTo>
                  <a:pt x="2133600" y="237671"/>
                </a:lnTo>
                <a:cubicBezTo>
                  <a:pt x="2524881" y="1101876"/>
                  <a:pt x="2882295" y="2051352"/>
                  <a:pt x="3062514" y="2656114"/>
                </a:cubicBezTo>
                <a:cubicBezTo>
                  <a:pt x="3422952" y="3865638"/>
                  <a:pt x="3577771" y="4738914"/>
                  <a:pt x="3164114" y="5588000"/>
                </a:cubicBezTo>
                <a:cubicBezTo>
                  <a:pt x="2983139" y="5959475"/>
                  <a:pt x="2611400" y="6355027"/>
                  <a:pt x="2186847" y="6710847"/>
                </a:cubicBezTo>
                <a:lnTo>
                  <a:pt x="200542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6A5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07DE88B-CBBB-4080-9582-30D2E3C00010}"/>
              </a:ext>
            </a:extLst>
          </p:cNvPr>
          <p:cNvSpPr/>
          <p:nvPr userDrawn="1"/>
        </p:nvSpPr>
        <p:spPr>
          <a:xfrm>
            <a:off x="2188350" y="0"/>
            <a:ext cx="3411367" cy="6858000"/>
          </a:xfrm>
          <a:custGeom>
            <a:avLst/>
            <a:gdLst>
              <a:gd name="connsiteX0" fmla="*/ 0 w 3411367"/>
              <a:gd name="connsiteY0" fmla="*/ 0 h 6858000"/>
              <a:gd name="connsiteX1" fmla="*/ 2023387 w 3411367"/>
              <a:gd name="connsiteY1" fmla="*/ 0 h 6858000"/>
              <a:gd name="connsiteX2" fmla="*/ 2133600 w 3411367"/>
              <a:gd name="connsiteY2" fmla="*/ 237671 h 6858000"/>
              <a:gd name="connsiteX3" fmla="*/ 3062514 w 3411367"/>
              <a:gd name="connsiteY3" fmla="*/ 2656114 h 6858000"/>
              <a:gd name="connsiteX4" fmla="*/ 3164114 w 3411367"/>
              <a:gd name="connsiteY4" fmla="*/ 5588000 h 6858000"/>
              <a:gd name="connsiteX5" fmla="*/ 2186847 w 3411367"/>
              <a:gd name="connsiteY5" fmla="*/ 6710847 h 6858000"/>
              <a:gd name="connsiteX6" fmla="*/ 2005420 w 3411367"/>
              <a:gd name="connsiteY6" fmla="*/ 6858000 h 6858000"/>
              <a:gd name="connsiteX7" fmla="*/ 0 w 34113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367" h="6858000">
                <a:moveTo>
                  <a:pt x="0" y="0"/>
                </a:moveTo>
                <a:lnTo>
                  <a:pt x="2023387" y="0"/>
                </a:lnTo>
                <a:lnTo>
                  <a:pt x="2133600" y="237671"/>
                </a:lnTo>
                <a:cubicBezTo>
                  <a:pt x="2524881" y="1101876"/>
                  <a:pt x="2882295" y="2051352"/>
                  <a:pt x="3062514" y="2656114"/>
                </a:cubicBezTo>
                <a:cubicBezTo>
                  <a:pt x="3422952" y="3865638"/>
                  <a:pt x="3577771" y="4738914"/>
                  <a:pt x="3164114" y="5588000"/>
                </a:cubicBezTo>
                <a:cubicBezTo>
                  <a:pt x="2983139" y="5959475"/>
                  <a:pt x="2611400" y="6355027"/>
                  <a:pt x="2186847" y="6710847"/>
                </a:cubicBezTo>
                <a:lnTo>
                  <a:pt x="200542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C4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63940" y="3022242"/>
            <a:ext cx="4458003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defRPr lang="en-US" sz="4800" b="1" cap="none" baseline="0">
                <a:solidFill>
                  <a:schemeClr val="accent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240FF-7537-4547-A6E4-60549215DF2E}"/>
              </a:ext>
            </a:extLst>
          </p:cNvPr>
          <p:cNvCxnSpPr>
            <a:cxnSpLocks/>
          </p:cNvCxnSpPr>
          <p:nvPr userDrawn="1"/>
        </p:nvCxnSpPr>
        <p:spPr>
          <a:xfrm>
            <a:off x="563940" y="2965038"/>
            <a:ext cx="666750" cy="0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028F13A-171E-4661-936A-14AB5692DB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1886" y="5903458"/>
            <a:ext cx="190500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225258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BCB6AE0-7D50-4728-8390-524B504F567B}"/>
              </a:ext>
            </a:extLst>
          </p:cNvPr>
          <p:cNvSpPr/>
          <p:nvPr userDrawn="1"/>
        </p:nvSpPr>
        <p:spPr>
          <a:xfrm>
            <a:off x="0" y="95250"/>
            <a:ext cx="7832147" cy="6471870"/>
          </a:xfrm>
          <a:custGeom>
            <a:avLst/>
            <a:gdLst>
              <a:gd name="connsiteX0" fmla="*/ 0 w 7832147"/>
              <a:gd name="connsiteY0" fmla="*/ 0 h 6471870"/>
              <a:gd name="connsiteX1" fmla="*/ 7832147 w 7832147"/>
              <a:gd name="connsiteY1" fmla="*/ 0 h 6471870"/>
              <a:gd name="connsiteX2" fmla="*/ 7829907 w 7832147"/>
              <a:gd name="connsiteY2" fmla="*/ 88608 h 6471870"/>
              <a:gd name="connsiteX3" fmla="*/ 1109100 w 7832147"/>
              <a:gd name="connsiteY3" fmla="*/ 6471870 h 6471870"/>
              <a:gd name="connsiteX4" fmla="*/ 84254 w 7832147"/>
              <a:gd name="connsiteY4" fmla="*/ 6394330 h 6471870"/>
              <a:gd name="connsiteX5" fmla="*/ 0 w 7832147"/>
              <a:gd name="connsiteY5" fmla="*/ 6379284 h 64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32147" h="6471870">
                <a:moveTo>
                  <a:pt x="0" y="0"/>
                </a:moveTo>
                <a:lnTo>
                  <a:pt x="7832147" y="0"/>
                </a:lnTo>
                <a:lnTo>
                  <a:pt x="7829907" y="88608"/>
                </a:lnTo>
                <a:cubicBezTo>
                  <a:pt x="7649668" y="3644308"/>
                  <a:pt x="4709590" y="6471870"/>
                  <a:pt x="1109100" y="6471870"/>
                </a:cubicBezTo>
                <a:cubicBezTo>
                  <a:pt x="760665" y="6471870"/>
                  <a:pt x="418415" y="6445389"/>
                  <a:pt x="84254" y="6394330"/>
                </a:cubicBezTo>
                <a:lnTo>
                  <a:pt x="0" y="63792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88100" y="4652910"/>
            <a:ext cx="5358342" cy="73866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accent1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88100" y="5435116"/>
            <a:ext cx="5358342" cy="335989"/>
          </a:xfrm>
          <a:ln>
            <a:noFill/>
          </a:ln>
        </p:spPr>
        <p:txBody>
          <a:bodyPr wrap="square" lIns="0" tIns="0" rIns="0" bIns="0" anchor="t" anchorCtr="0">
            <a:normAutofit/>
          </a:bodyPr>
          <a:lstStyle>
            <a:lvl1pPr marL="0" indent="0" algn="l">
              <a:buNone/>
              <a:defRPr sz="2400" cap="none" baseline="0">
                <a:solidFill>
                  <a:schemeClr val="tx1"/>
                </a:solidFill>
                <a:latin typeface="+mn-lt"/>
                <a:ea typeface="Calibri" charset="0"/>
                <a:cs typeface="Calibri" charset="0"/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 / date</a:t>
            </a:r>
          </a:p>
        </p:txBody>
      </p:sp>
      <p:pic>
        <p:nvPicPr>
          <p:cNvPr id="22" name="Picture 21" descr="A picture containing logo&#10;&#10;Description automatically generated">
            <a:extLst>
              <a:ext uri="{FF2B5EF4-FFF2-40B4-BE49-F238E27FC236}">
                <a16:creationId xmlns:a16="http://schemas.microsoft.com/office/drawing/2014/main" id="{CE940509-E5FA-4A46-8779-24D472AE720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904942" y="286430"/>
            <a:ext cx="1905000" cy="657225"/>
          </a:xfrm>
          <a:prstGeom prst="rect">
            <a:avLst/>
          </a:prstGeom>
        </p:spPr>
      </p:pic>
      <p:pic>
        <p:nvPicPr>
          <p:cNvPr id="25" name="Picture 24" descr="Text, calendar&#10;&#10;Description automatically generated">
            <a:extLst>
              <a:ext uri="{FF2B5EF4-FFF2-40B4-BE49-F238E27FC236}">
                <a16:creationId xmlns:a16="http://schemas.microsoft.com/office/drawing/2014/main" id="{065535C4-ABEC-4190-B006-DD9FFB8946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36" r="12336"/>
          <a:stretch/>
        </p:blipFill>
        <p:spPr>
          <a:xfrm>
            <a:off x="0" y="0"/>
            <a:ext cx="7832147" cy="6471870"/>
          </a:xfrm>
          <a:custGeom>
            <a:avLst/>
            <a:gdLst>
              <a:gd name="connsiteX0" fmla="*/ 0 w 7832147"/>
              <a:gd name="connsiteY0" fmla="*/ 0 h 6471870"/>
              <a:gd name="connsiteX1" fmla="*/ 7832147 w 7832147"/>
              <a:gd name="connsiteY1" fmla="*/ 0 h 6471870"/>
              <a:gd name="connsiteX2" fmla="*/ 7829907 w 7832147"/>
              <a:gd name="connsiteY2" fmla="*/ 88608 h 6471870"/>
              <a:gd name="connsiteX3" fmla="*/ 1109100 w 7832147"/>
              <a:gd name="connsiteY3" fmla="*/ 6471870 h 6471870"/>
              <a:gd name="connsiteX4" fmla="*/ 84254 w 7832147"/>
              <a:gd name="connsiteY4" fmla="*/ 6394330 h 6471870"/>
              <a:gd name="connsiteX5" fmla="*/ 0 w 7832147"/>
              <a:gd name="connsiteY5" fmla="*/ 6379284 h 64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32147" h="6471870">
                <a:moveTo>
                  <a:pt x="0" y="0"/>
                </a:moveTo>
                <a:lnTo>
                  <a:pt x="7832147" y="0"/>
                </a:lnTo>
                <a:lnTo>
                  <a:pt x="7829907" y="88608"/>
                </a:lnTo>
                <a:cubicBezTo>
                  <a:pt x="7649668" y="3644308"/>
                  <a:pt x="4709590" y="6471870"/>
                  <a:pt x="1109100" y="6471870"/>
                </a:cubicBezTo>
                <a:cubicBezTo>
                  <a:pt x="760665" y="6471870"/>
                  <a:pt x="418415" y="6445389"/>
                  <a:pt x="84254" y="6394330"/>
                </a:cubicBezTo>
                <a:lnTo>
                  <a:pt x="0" y="6379284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19353907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5A0F8A-04A3-4A9A-B57C-B42755BE4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5A0F8A-04A3-4A9A-B57C-B42755BE4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Regular" charset="-52"/>
              <a:ea typeface="PT Sans Regular" charset="-52"/>
              <a:cs typeface="PT Sans Regular" charset="-52"/>
            </a:endParaRPr>
          </a:p>
        </p:txBody>
      </p:sp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33FA8F4-4D5D-48C7-8F70-A437D5CC59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12271" y="768350"/>
            <a:ext cx="6841672" cy="53213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264400" y="3255910"/>
            <a:ext cx="4482042" cy="738664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100000"/>
              </a:lnSpc>
              <a:defRPr lang="en-US" sz="4800" b="1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64400" y="4038116"/>
            <a:ext cx="4482042" cy="335989"/>
          </a:xfrm>
          <a:ln>
            <a:noFill/>
          </a:ln>
        </p:spPr>
        <p:txBody>
          <a:bodyPr wrap="square" lIns="0" tIns="0" rIns="0" bIns="0" anchor="t" anchorCtr="0">
            <a:normAutofit/>
          </a:bodyPr>
          <a:lstStyle>
            <a:lvl1pPr marL="0" indent="0" algn="l">
              <a:buNone/>
              <a:defRPr sz="2400" cap="none" baseline="0">
                <a:solidFill>
                  <a:schemeClr val="bg1"/>
                </a:solidFill>
                <a:latin typeface="+mn-lt"/>
                <a:ea typeface="Calibri" charset="0"/>
                <a:cs typeface="Calibri" charset="0"/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 / date</a:t>
            </a:r>
          </a:p>
        </p:txBody>
      </p:sp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3DF051E-EE0F-49FA-B763-84F0D835DA8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04942" y="286430"/>
            <a:ext cx="190500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87730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D044306-6677-4468-A44D-CF0E3BFED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0" imgW="347" imgH="348" progId="TCLayout.ActiveDocument.1">
                  <p:embed/>
                </p:oleObj>
              </mc:Choice>
              <mc:Fallback>
                <p:oleObj name="think-cell Slide" r:id="rId50" imgW="347" imgH="348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D044306-6677-4468-A44D-CF0E3BFED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580729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PT Sans Regular" charset="-52"/>
                <a:ea typeface="PT Sans Regular" charset="-52"/>
                <a:cs typeface="PT Sans Regular" charset="-52"/>
              </a:rPr>
              <a:t>IBDROOT\PROJECTS\IBD-NY\OPERAND2015\583992_1\Presentations\2016-01-25 Analyst Day\Project Elysium - Analyst Day Presentation (Updated 20150121).pptx</a:t>
            </a:r>
          </a:p>
        </p:txBody>
      </p:sp>
      <p:sp>
        <p:nvSpPr>
          <p:cNvPr id="5" name="GS Doctop Placeholder" hidden="1">
            <a:extLst>
              <a:ext uri="{FF2B5EF4-FFF2-40B4-BE49-F238E27FC236}">
                <a16:creationId xmlns:a16="http://schemas.microsoft.com/office/drawing/2014/main" id="{E91E8DEB-B964-411F-9C9D-7C5A71FF4D84}"/>
              </a:ext>
            </a:extLst>
          </p:cNvPr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PT Sans Regular" charset="-52"/>
                <a:ea typeface="PT Sans Regular" charset="-52"/>
                <a:cs typeface="PT Sans Regular" charset="-52"/>
              </a:rPr>
              <a:t>IBDROOT\PROJECTS\IBD-NY\OPERAND2015\583992_1\Presentations\2016-01-25 Analyst Day\Project Elysium - Analyst Day Presentation (Updated 20150121).pptx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0D5E27E1-4B92-4AD6-B16D-FDD14E491695}"/>
              </a:ext>
            </a:extLst>
          </p:cNvPr>
          <p:cNvSpPr txBox="1"/>
          <p:nvPr userDrawn="1"/>
        </p:nvSpPr>
        <p:spPr>
          <a:xfrm>
            <a:off x="-3315246" y="2088631"/>
            <a:ext cx="17133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SKY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0093c9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0  G:147  B:201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F9A5FC86-A315-4662-B292-1E887AC9FE42}"/>
              </a:ext>
            </a:extLst>
          </p:cNvPr>
          <p:cNvSpPr txBox="1"/>
          <p:nvPr userDrawn="1"/>
        </p:nvSpPr>
        <p:spPr>
          <a:xfrm>
            <a:off x="-3315245" y="3822955"/>
            <a:ext cx="17133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SEA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0675c1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6  G:117  B:193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4E6C570B-3E6B-4F1B-B948-891EFDC5C8EB}"/>
              </a:ext>
            </a:extLst>
          </p:cNvPr>
          <p:cNvSpPr txBox="1"/>
          <p:nvPr userDrawn="1"/>
        </p:nvSpPr>
        <p:spPr>
          <a:xfrm>
            <a:off x="13561806" y="354303"/>
            <a:ext cx="18196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LIME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82bd41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130  G:189  B:65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4540058-2C29-4448-AA27-848C865906BA}"/>
              </a:ext>
            </a:extLst>
          </p:cNvPr>
          <p:cNvSpPr txBox="1"/>
          <p:nvPr userDrawn="1"/>
        </p:nvSpPr>
        <p:spPr>
          <a:xfrm>
            <a:off x="13561806" y="2096416"/>
            <a:ext cx="17213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EMERALD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389239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56  G:146  B:57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B685E40A-48B8-48CF-A1C7-4F0161228EC0}"/>
              </a:ext>
            </a:extLst>
          </p:cNvPr>
          <p:cNvSpPr txBox="1"/>
          <p:nvPr userDrawn="1"/>
        </p:nvSpPr>
        <p:spPr>
          <a:xfrm>
            <a:off x="13561806" y="3822956"/>
            <a:ext cx="18196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LEMON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f2c845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242  G:200  B:69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B9CADB1F-2E98-42AD-AD02-ABB82C7D607A}"/>
              </a:ext>
            </a:extLst>
          </p:cNvPr>
          <p:cNvSpPr txBox="1"/>
          <p:nvPr userDrawn="1"/>
        </p:nvSpPr>
        <p:spPr>
          <a:xfrm>
            <a:off x="13561806" y="5552276"/>
            <a:ext cx="18678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TANGERINE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f7a800</a:t>
            </a:r>
          </a:p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247  G:168  B:0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C65C9AB-750C-4A89-8847-12FF6E59A7A3}"/>
              </a:ext>
            </a:extLst>
          </p:cNvPr>
          <p:cNvSpPr txBox="1"/>
          <p:nvPr userDrawn="1"/>
        </p:nvSpPr>
        <p:spPr>
          <a:xfrm>
            <a:off x="-3208868" y="354305"/>
            <a:ext cx="16069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SPACE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0c2d4d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12  G:45  B:77</a:t>
            </a: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FFF70401-BC03-4263-A118-CAD3CAFA7203}"/>
              </a:ext>
            </a:extLst>
          </p:cNvPr>
          <p:cNvSpPr txBox="1"/>
          <p:nvPr userDrawn="1"/>
        </p:nvSpPr>
        <p:spPr>
          <a:xfrm>
            <a:off x="-3527999" y="5552277"/>
            <a:ext cx="1926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GRAPHITE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#808285</a:t>
            </a:r>
          </a:p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C2D4D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:128  G:130  B:13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BB0BD3D-D54B-4F5B-BDC9-3468A9DB6183}"/>
              </a:ext>
            </a:extLst>
          </p:cNvPr>
          <p:cNvSpPr/>
          <p:nvPr userDrawn="1"/>
        </p:nvSpPr>
        <p:spPr>
          <a:xfrm>
            <a:off x="12397105" y="175685"/>
            <a:ext cx="1219200" cy="1219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A9190D1-AD60-4843-B8B2-C0FCC4DA2EC9}"/>
              </a:ext>
            </a:extLst>
          </p:cNvPr>
          <p:cNvSpPr/>
          <p:nvPr userDrawn="1"/>
        </p:nvSpPr>
        <p:spPr>
          <a:xfrm>
            <a:off x="-1648105" y="3644336"/>
            <a:ext cx="1219200" cy="121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838EFD1-5983-44B9-BC3C-0FC71C41292F}"/>
              </a:ext>
            </a:extLst>
          </p:cNvPr>
          <p:cNvSpPr/>
          <p:nvPr userDrawn="1"/>
        </p:nvSpPr>
        <p:spPr>
          <a:xfrm>
            <a:off x="-1648105" y="1910011"/>
            <a:ext cx="1219200" cy="12192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6625ACE-A3F4-45C6-932E-17EC77A2D501}"/>
              </a:ext>
            </a:extLst>
          </p:cNvPr>
          <p:cNvSpPr/>
          <p:nvPr userDrawn="1"/>
        </p:nvSpPr>
        <p:spPr>
          <a:xfrm>
            <a:off x="12397105" y="1908343"/>
            <a:ext cx="1219200" cy="1219200"/>
          </a:xfrm>
          <a:prstGeom prst="ellipse">
            <a:avLst/>
          </a:prstGeom>
          <a:solidFill>
            <a:srgbClr val="389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18EE426-8CE6-4D26-A754-344D440CBE0E}"/>
              </a:ext>
            </a:extLst>
          </p:cNvPr>
          <p:cNvSpPr/>
          <p:nvPr userDrawn="1"/>
        </p:nvSpPr>
        <p:spPr>
          <a:xfrm>
            <a:off x="12397105" y="3641000"/>
            <a:ext cx="1219200" cy="121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3B2814F-8CEA-4F58-8BED-206AEFA2B57E}"/>
              </a:ext>
            </a:extLst>
          </p:cNvPr>
          <p:cNvSpPr/>
          <p:nvPr userDrawn="1"/>
        </p:nvSpPr>
        <p:spPr>
          <a:xfrm>
            <a:off x="12397105" y="5373656"/>
            <a:ext cx="1219200" cy="1219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8024479-F6AC-4357-8BA5-1881C16A9B0C}"/>
              </a:ext>
            </a:extLst>
          </p:cNvPr>
          <p:cNvSpPr/>
          <p:nvPr userDrawn="1"/>
        </p:nvSpPr>
        <p:spPr>
          <a:xfrm>
            <a:off x="-1648105" y="175685"/>
            <a:ext cx="1219200" cy="121920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A902728-BB81-43C8-A52B-7D6072ABE548}"/>
              </a:ext>
            </a:extLst>
          </p:cNvPr>
          <p:cNvSpPr/>
          <p:nvPr userDrawn="1"/>
        </p:nvSpPr>
        <p:spPr>
          <a:xfrm>
            <a:off x="-1648105" y="5378660"/>
            <a:ext cx="1219200" cy="1219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23" name="Picture 22" descr="darkest-green-horz.png">
            <a:extLst>
              <a:ext uri="{FF2B5EF4-FFF2-40B4-BE49-F238E27FC236}">
                <a16:creationId xmlns:a16="http://schemas.microsoft.com/office/drawing/2014/main" id="{73733E8A-013F-47D7-9B7A-6CC27365E179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9129" y="-101841"/>
            <a:ext cx="1770988" cy="13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336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0" i="0" kern="1200">
          <a:solidFill>
            <a:schemeClr val="bg1"/>
          </a:solidFill>
          <a:latin typeface="+mj-lt"/>
          <a:ea typeface="PT Sans Regular" charset="-52"/>
          <a:cs typeface="PT Sans Regular" charset="-52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bg1"/>
        </a:buClr>
        <a:buFont typeface="Arial" charset="0"/>
        <a:buChar char="•"/>
        <a:defRPr sz="2800" b="0" i="0" kern="1200">
          <a:solidFill>
            <a:schemeClr val="accent4"/>
          </a:solidFill>
          <a:latin typeface="+mn-lt"/>
          <a:ea typeface="PT Sans Regular" charset="-52"/>
          <a:cs typeface="PT Sans Regular" charset="-52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4"/>
        </a:buClr>
        <a:buFont typeface="Arial" charset="0"/>
        <a:buChar char="•"/>
        <a:defRPr b="0" i="0" kern="1200">
          <a:solidFill>
            <a:schemeClr val="accent4"/>
          </a:solidFill>
          <a:latin typeface="+mn-lt"/>
          <a:ea typeface="PT Sans Regular" charset="-52"/>
          <a:cs typeface="PT Sans Regular" charset="-52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b="0" i="0" kern="1200">
          <a:solidFill>
            <a:schemeClr val="accent4"/>
          </a:solidFill>
          <a:latin typeface="+mn-lt"/>
          <a:ea typeface="PT Sans Regular" charset="-52"/>
          <a:cs typeface="PT Sans Regular" charset="-52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b="0" i="0" kern="1200">
          <a:solidFill>
            <a:schemeClr val="accent4"/>
          </a:solidFill>
          <a:latin typeface="+mn-lt"/>
          <a:ea typeface="PT Sans Regular" charset="-52"/>
          <a:cs typeface="PT Sans Regular" charset="-52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b="0" i="0" kern="1200">
          <a:solidFill>
            <a:schemeClr val="accent4"/>
          </a:solidFill>
          <a:latin typeface="+mn-lt"/>
          <a:ea typeface="PT Sans Regular" charset="-52"/>
          <a:cs typeface="PT Sans Regular" charset="-52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6.svg"/><Relationship Id="rId3" Type="http://schemas.openxmlformats.org/officeDocument/2006/relationships/image" Target="../media/image28.emf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emf"/><Relationship Id="rId5" Type="http://schemas.openxmlformats.org/officeDocument/2006/relationships/image" Target="../media/image263.svg"/><Relationship Id="rId4" Type="http://schemas.openxmlformats.org/officeDocument/2006/relationships/image" Target="../media/image29.png"/><Relationship Id="rId9" Type="http://schemas.openxmlformats.org/officeDocument/2006/relationships/image" Target="../media/image3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738664"/>
          </a:xfrm>
        </p:spPr>
        <p:txBody>
          <a:bodyPr/>
          <a:lstStyle/>
          <a:p>
            <a:r>
              <a:rPr lang="en-US" dirty="0"/>
              <a:t>Talend Cloud Architecture</a:t>
            </a:r>
            <a:br>
              <a:rPr lang="en-US" dirty="0"/>
            </a:br>
            <a:r>
              <a:rPr lang="en-US" sz="2000" dirty="0"/>
              <a:t>Cloud Engine</a:t>
            </a:r>
            <a:endParaRPr lang="en-US" dirty="0">
              <a:latin typeface="Roboto (Headings)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18746" y="1170420"/>
            <a:ext cx="2334415" cy="261610"/>
            <a:chOff x="9499622" y="1758589"/>
            <a:chExt cx="2334414" cy="261610"/>
          </a:xfrm>
        </p:grpSpPr>
        <p:cxnSp>
          <p:nvCxnSpPr>
            <p:cNvPr id="6" name="Straight Arrow Connector 5"/>
            <p:cNvCxnSpPr/>
            <p:nvPr/>
          </p:nvCxnSpPr>
          <p:spPr>
            <a:xfrm flipH="1">
              <a:off x="9499622" y="1902798"/>
              <a:ext cx="364540" cy="0"/>
            </a:xfrm>
            <a:prstGeom prst="straightConnector1">
              <a:avLst/>
            </a:prstGeom>
            <a:ln w="38100" cmpd="sng">
              <a:solidFill>
                <a:schemeClr val="accent6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6"/>
            <p:cNvSpPr/>
            <p:nvPr/>
          </p:nvSpPr>
          <p:spPr>
            <a:xfrm>
              <a:off x="9796658" y="1852662"/>
              <a:ext cx="108615" cy="1086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883725" y="1758589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91D1ED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Status &amp; Logs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91D1ED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sp>
        <p:nvSpPr>
          <p:cNvPr id="9" name="Rectangle 126"/>
          <p:cNvSpPr/>
          <p:nvPr/>
        </p:nvSpPr>
        <p:spPr>
          <a:xfrm>
            <a:off x="523393" y="1283793"/>
            <a:ext cx="5695835" cy="3094635"/>
          </a:xfrm>
          <a:custGeom>
            <a:avLst/>
            <a:gdLst/>
            <a:ahLst/>
            <a:cxnLst/>
            <a:rect l="l" t="t" r="r" b="b"/>
            <a:pathLst>
              <a:path w="5695835" h="3094635">
                <a:moveTo>
                  <a:pt x="3824625" y="0"/>
                </a:moveTo>
                <a:cubicBezTo>
                  <a:pt x="4225658" y="0"/>
                  <a:pt x="4550759" y="325101"/>
                  <a:pt x="4550759" y="726134"/>
                </a:cubicBezTo>
                <a:cubicBezTo>
                  <a:pt x="4550759" y="826392"/>
                  <a:pt x="4530440" y="921905"/>
                  <a:pt x="4493696" y="1008778"/>
                </a:cubicBezTo>
                <a:lnTo>
                  <a:pt x="4492674" y="1010662"/>
                </a:lnTo>
                <a:lnTo>
                  <a:pt x="4496451" y="1010281"/>
                </a:lnTo>
                <a:cubicBezTo>
                  <a:pt x="4714512" y="1010281"/>
                  <a:pt x="4891286" y="1187055"/>
                  <a:pt x="4891286" y="1405116"/>
                </a:cubicBezTo>
                <a:lnTo>
                  <a:pt x="4886473" y="1452864"/>
                </a:lnTo>
                <a:lnTo>
                  <a:pt x="4958612" y="1456507"/>
                </a:lnTo>
                <a:cubicBezTo>
                  <a:pt x="5372699" y="1498560"/>
                  <a:pt x="5695835" y="1848270"/>
                  <a:pt x="5695835" y="2273451"/>
                </a:cubicBezTo>
                <a:cubicBezTo>
                  <a:pt x="5695835" y="2698633"/>
                  <a:pt x="5372699" y="3048343"/>
                  <a:pt x="4958612" y="3090396"/>
                </a:cubicBezTo>
                <a:lnTo>
                  <a:pt x="4891286" y="3093795"/>
                </a:lnTo>
                <a:lnTo>
                  <a:pt x="4891286" y="3094635"/>
                </a:lnTo>
                <a:lnTo>
                  <a:pt x="4874651" y="3094635"/>
                </a:lnTo>
                <a:lnTo>
                  <a:pt x="821184" y="3094635"/>
                </a:lnTo>
                <a:lnTo>
                  <a:pt x="820260" y="3094635"/>
                </a:lnTo>
                <a:lnTo>
                  <a:pt x="820260" y="3094589"/>
                </a:lnTo>
                <a:lnTo>
                  <a:pt x="737223" y="3090396"/>
                </a:lnTo>
                <a:cubicBezTo>
                  <a:pt x="323136" y="3048343"/>
                  <a:pt x="0" y="2698633"/>
                  <a:pt x="0" y="2273451"/>
                </a:cubicBezTo>
                <a:cubicBezTo>
                  <a:pt x="0" y="1904960"/>
                  <a:pt x="242711" y="1593157"/>
                  <a:pt x="576989" y="1489186"/>
                </a:cubicBezTo>
                <a:lnTo>
                  <a:pt x="598150" y="1483745"/>
                </a:lnTo>
                <a:lnTo>
                  <a:pt x="593112" y="1467516"/>
                </a:lnTo>
                <a:cubicBezTo>
                  <a:pt x="586212" y="1433795"/>
                  <a:pt x="582588" y="1398880"/>
                  <a:pt x="582588" y="1363119"/>
                </a:cubicBezTo>
                <a:cubicBezTo>
                  <a:pt x="582588" y="1077031"/>
                  <a:pt x="814509" y="845110"/>
                  <a:pt x="1100597" y="845110"/>
                </a:cubicBezTo>
                <a:cubicBezTo>
                  <a:pt x="1136358" y="845110"/>
                  <a:pt x="1171273" y="848734"/>
                  <a:pt x="1204994" y="855634"/>
                </a:cubicBezTo>
                <a:lnTo>
                  <a:pt x="1249691" y="869509"/>
                </a:lnTo>
                <a:lnTo>
                  <a:pt x="1288325" y="798332"/>
                </a:lnTo>
                <a:cubicBezTo>
                  <a:pt x="1418817" y="605179"/>
                  <a:pt x="1639801" y="478186"/>
                  <a:pt x="1890447" y="478186"/>
                </a:cubicBezTo>
                <a:cubicBezTo>
                  <a:pt x="2040834" y="478186"/>
                  <a:pt x="2180544" y="523903"/>
                  <a:pt x="2296435" y="602198"/>
                </a:cubicBezTo>
                <a:lnTo>
                  <a:pt x="2324030" y="624966"/>
                </a:lnTo>
                <a:lnTo>
                  <a:pt x="2325086" y="624095"/>
                </a:lnTo>
                <a:cubicBezTo>
                  <a:pt x="2388102" y="581522"/>
                  <a:pt x="2464069" y="556663"/>
                  <a:pt x="2545842" y="556663"/>
                </a:cubicBezTo>
                <a:cubicBezTo>
                  <a:pt x="2573099" y="556663"/>
                  <a:pt x="2599712" y="559425"/>
                  <a:pt x="2625415" y="564685"/>
                </a:cubicBezTo>
                <a:lnTo>
                  <a:pt x="2641499" y="569677"/>
                </a:lnTo>
                <a:lnTo>
                  <a:pt x="2664318" y="496166"/>
                </a:lnTo>
                <a:cubicBezTo>
                  <a:pt x="2724257" y="354453"/>
                  <a:pt x="2864579" y="255018"/>
                  <a:pt x="3028125" y="255018"/>
                </a:cubicBezTo>
                <a:cubicBezTo>
                  <a:pt x="3082640" y="255018"/>
                  <a:pt x="3134575" y="266066"/>
                  <a:pt x="3181813" y="286046"/>
                </a:cubicBezTo>
                <a:lnTo>
                  <a:pt x="3229349" y="311848"/>
                </a:lnTo>
                <a:lnTo>
                  <a:pt x="3311171" y="212680"/>
                </a:lnTo>
                <a:cubicBezTo>
                  <a:pt x="3442575" y="81275"/>
                  <a:pt x="3624109" y="0"/>
                  <a:pt x="3824625" y="0"/>
                </a:cubicBezTo>
                <a:close/>
              </a:path>
            </a:pathLst>
          </a:custGeom>
          <a:solidFill>
            <a:srgbClr val="FFFFFF"/>
          </a:solidFill>
          <a:ln w="12700" cmpd="sng">
            <a:solidFill>
              <a:schemeClr val="bg2">
                <a:lumMod val="75000"/>
              </a:schemeClr>
            </a:solidFill>
          </a:ln>
          <a:effectLst>
            <a:glow rad="241300">
              <a:schemeClr val="accent5">
                <a:alpha val="13000"/>
              </a:schemeClr>
            </a:glow>
            <a:outerShdw blurRad="165100" sx="105000" sy="105000" algn="ctr" rotWithShape="0">
              <a:schemeClr val="bg2">
                <a:lumMod val="7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06683" y="4623788"/>
            <a:ext cx="11148407" cy="295493"/>
            <a:chOff x="506682" y="4498448"/>
            <a:chExt cx="11148407" cy="295493"/>
          </a:xfrm>
        </p:grpSpPr>
        <p:grpSp>
          <p:nvGrpSpPr>
            <p:cNvPr id="11" name="Group 10"/>
            <p:cNvGrpSpPr/>
            <p:nvPr/>
          </p:nvGrpSpPr>
          <p:grpSpPr>
            <a:xfrm>
              <a:off x="506682" y="4591345"/>
              <a:ext cx="11148407" cy="111586"/>
              <a:chOff x="506682" y="4566277"/>
              <a:chExt cx="11148407" cy="111586"/>
            </a:xfrm>
          </p:grpSpPr>
          <p:cxnSp>
            <p:nvCxnSpPr>
              <p:cNvPr id="18" name="Straight Connector 17"/>
              <p:cNvCxnSpPr>
                <a:endCxn id="20" idx="2"/>
              </p:cNvCxnSpPr>
              <p:nvPr/>
            </p:nvCxnSpPr>
            <p:spPr>
              <a:xfrm flipV="1">
                <a:off x="523392" y="4622070"/>
                <a:ext cx="11020111" cy="5813"/>
              </a:xfrm>
              <a:prstGeom prst="line">
                <a:avLst/>
              </a:prstGeom>
              <a:ln w="19050" cmpd="sng">
                <a:solidFill>
                  <a:srgbClr val="FF66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Oval 18"/>
              <p:cNvSpPr/>
              <p:nvPr/>
            </p:nvSpPr>
            <p:spPr>
              <a:xfrm>
                <a:off x="506682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11543503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802080" y="4498448"/>
              <a:ext cx="1670994" cy="295493"/>
              <a:chOff x="5714807" y="4473380"/>
              <a:chExt cx="1670994" cy="295493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9675066" y="4498448"/>
              <a:ext cx="1670994" cy="295493"/>
              <a:chOff x="5714807" y="4473380"/>
              <a:chExt cx="1670994" cy="295493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280910" y="5084189"/>
            <a:ext cx="1431007" cy="1007423"/>
            <a:chOff x="1825722" y="5148659"/>
            <a:chExt cx="1431007" cy="1007422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7678" y="5148659"/>
              <a:ext cx="962703" cy="100366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825722" y="5940637"/>
              <a:ext cx="1431007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Talend Studio</a:t>
              </a:r>
            </a:p>
          </p:txBody>
        </p:sp>
      </p:grpSp>
      <p:sp>
        <p:nvSpPr>
          <p:cNvPr id="24" name="Rectangle 23"/>
          <p:cNvSpPr/>
          <p:nvPr/>
        </p:nvSpPr>
        <p:spPr>
          <a:xfrm>
            <a:off x="6926259" y="5876033"/>
            <a:ext cx="3241767" cy="236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-premises Apps &amp; Database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586319" y="5107370"/>
            <a:ext cx="1946711" cy="735239"/>
            <a:chOff x="7653159" y="5107369"/>
            <a:chExt cx="1946710" cy="735239"/>
          </a:xfrm>
        </p:grpSpPr>
        <p:sp>
          <p:nvSpPr>
            <p:cNvPr id="26" name="Oval 78"/>
            <p:cNvSpPr/>
            <p:nvPr/>
          </p:nvSpPr>
          <p:spPr>
            <a:xfrm>
              <a:off x="7653159" y="5107369"/>
              <a:ext cx="1946710" cy="735239"/>
            </a:xfrm>
            <a:custGeom>
              <a:avLst/>
              <a:gdLst/>
              <a:ahLst/>
              <a:cxnLst/>
              <a:rect l="l" t="t" r="r" b="b"/>
              <a:pathLst>
                <a:path w="1946710" h="735239">
                  <a:moveTo>
                    <a:pt x="367619" y="0"/>
                  </a:moveTo>
                  <a:lnTo>
                    <a:pt x="367629" y="1"/>
                  </a:lnTo>
                  <a:lnTo>
                    <a:pt x="1579081" y="1"/>
                  </a:lnTo>
                  <a:lnTo>
                    <a:pt x="1579091" y="0"/>
                  </a:lnTo>
                  <a:cubicBezTo>
                    <a:pt x="1782121" y="0"/>
                    <a:pt x="1946710" y="164589"/>
                    <a:pt x="1946710" y="367619"/>
                  </a:cubicBezTo>
                  <a:cubicBezTo>
                    <a:pt x="1946710" y="570649"/>
                    <a:pt x="1782121" y="735238"/>
                    <a:pt x="1579091" y="735238"/>
                  </a:cubicBezTo>
                  <a:lnTo>
                    <a:pt x="1579090" y="735238"/>
                  </a:lnTo>
                  <a:lnTo>
                    <a:pt x="1579090" y="735239"/>
                  </a:lnTo>
                  <a:lnTo>
                    <a:pt x="359264" y="735239"/>
                  </a:lnTo>
                  <a:lnTo>
                    <a:pt x="359264" y="734396"/>
                  </a:lnTo>
                  <a:lnTo>
                    <a:pt x="293531" y="727770"/>
                  </a:lnTo>
                  <a:cubicBezTo>
                    <a:pt x="126013" y="693490"/>
                    <a:pt x="0" y="545270"/>
                    <a:pt x="0" y="367619"/>
                  </a:cubicBezTo>
                  <a:cubicBezTo>
                    <a:pt x="0" y="189968"/>
                    <a:pt x="126013" y="41748"/>
                    <a:pt x="293531" y="7469"/>
                  </a:cubicBezTo>
                  <a:lnTo>
                    <a:pt x="359264" y="843"/>
                  </a:lnTo>
                  <a:lnTo>
                    <a:pt x="359264" y="1"/>
                  </a:lnTo>
                  <a:lnTo>
                    <a:pt x="367609" y="1"/>
                  </a:lnTo>
                  <a:close/>
                </a:path>
              </a:pathLst>
            </a:custGeom>
            <a:noFill/>
            <a:ln w="1905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pic>
          <p:nvPicPr>
            <p:cNvPr id="27" name="Picture 26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602" y="5239068"/>
              <a:ext cx="413979" cy="465844"/>
            </a:xfrm>
            <a:prstGeom prst="rect">
              <a:avLst/>
            </a:prstGeom>
          </p:spPr>
        </p:pic>
        <p:pic>
          <p:nvPicPr>
            <p:cNvPr id="28" name="Picture 27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4143" y="5239068"/>
              <a:ext cx="413979" cy="465844"/>
            </a:xfrm>
            <a:prstGeom prst="rect">
              <a:avLst/>
            </a:prstGeom>
          </p:spPr>
        </p:pic>
        <p:pic>
          <p:nvPicPr>
            <p:cNvPr id="29" name="Picture 28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44684" y="5239068"/>
              <a:ext cx="413979" cy="465844"/>
            </a:xfrm>
            <a:prstGeom prst="rect">
              <a:avLst/>
            </a:prstGeom>
          </p:spPr>
        </p:pic>
      </p:grpSp>
      <p:sp>
        <p:nvSpPr>
          <p:cNvPr id="30" name="Oval 29"/>
          <p:cNvSpPr/>
          <p:nvPr/>
        </p:nvSpPr>
        <p:spPr>
          <a:xfrm>
            <a:off x="4979567" y="3139852"/>
            <a:ext cx="835555" cy="835555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2F56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15026" y="3936578"/>
            <a:ext cx="15639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Cloud Engine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7569609" y="2045267"/>
            <a:ext cx="835555" cy="835555"/>
            <a:chOff x="7719999" y="2220738"/>
            <a:chExt cx="835554" cy="835554"/>
          </a:xfrm>
        </p:grpSpPr>
        <p:sp>
          <p:nvSpPr>
            <p:cNvPr id="33" name="Oval 32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4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7569609" y="3131519"/>
            <a:ext cx="835555" cy="835555"/>
            <a:chOff x="7719999" y="2220738"/>
            <a:chExt cx="835554" cy="835554"/>
          </a:xfrm>
        </p:grpSpPr>
        <p:sp>
          <p:nvSpPr>
            <p:cNvPr id="36" name="Oval 35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7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463649" y="2295058"/>
            <a:ext cx="235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Cloud Platform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463649" y="3388682"/>
            <a:ext cx="235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SaaS Apps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 flipH="1">
            <a:off x="4615026" y="3554249"/>
            <a:ext cx="364543" cy="0"/>
          </a:xfrm>
          <a:prstGeom prst="straightConnector1">
            <a:avLst/>
          </a:prstGeom>
          <a:ln w="38100" cmpd="sng">
            <a:solidFill>
              <a:schemeClr val="accent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>
          <a:xfrm>
            <a:off x="4925261" y="3503627"/>
            <a:ext cx="108615" cy="10861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7328578" y="1169160"/>
            <a:ext cx="2334415" cy="261610"/>
            <a:chOff x="9499622" y="1471224"/>
            <a:chExt cx="2334414" cy="261610"/>
          </a:xfrm>
        </p:grpSpPr>
        <p:cxnSp>
          <p:nvCxnSpPr>
            <p:cNvPr id="43" name="Straight Arrow Connector 42"/>
            <p:cNvCxnSpPr/>
            <p:nvPr/>
          </p:nvCxnSpPr>
          <p:spPr>
            <a:xfrm flipH="1">
              <a:off x="9499622" y="1615433"/>
              <a:ext cx="364540" cy="0"/>
            </a:xfrm>
            <a:prstGeom prst="straightConnector1">
              <a:avLst/>
            </a:prstGeom>
            <a:ln w="38100" cmpd="sng">
              <a:solidFill>
                <a:schemeClr val="accent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/>
            <p:cNvSpPr/>
            <p:nvPr/>
          </p:nvSpPr>
          <p:spPr>
            <a:xfrm>
              <a:off x="9796658" y="1565297"/>
              <a:ext cx="108615" cy="108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9883725" y="1471224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C1F56">
                      <a:lumMod val="75000"/>
                    </a:srgbClr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Customer data in transit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2C1F56">
                    <a:lumMod val="75000"/>
                  </a:srgbClr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cxnSp>
        <p:nvCxnSpPr>
          <p:cNvPr id="46" name="Straight Arrow Connector 45"/>
          <p:cNvCxnSpPr/>
          <p:nvPr/>
        </p:nvCxnSpPr>
        <p:spPr>
          <a:xfrm>
            <a:off x="5856839" y="3554249"/>
            <a:ext cx="1679351" cy="0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5756637" y="2531801"/>
            <a:ext cx="1787908" cy="721640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2995259" y="4001475"/>
            <a:ext cx="0" cy="1082715"/>
          </a:xfrm>
          <a:prstGeom prst="straightConnector1">
            <a:avLst/>
          </a:prstGeom>
          <a:ln w="38100" cmpd="sng">
            <a:solidFill>
              <a:srgbClr val="4ABDE5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9499622" y="1178770"/>
            <a:ext cx="2334415" cy="244682"/>
            <a:chOff x="9499622" y="1178773"/>
            <a:chExt cx="2334414" cy="244682"/>
          </a:xfrm>
        </p:grpSpPr>
        <p:cxnSp>
          <p:nvCxnSpPr>
            <p:cNvPr id="50" name="Straight Arrow Connector 49"/>
            <p:cNvCxnSpPr/>
            <p:nvPr/>
          </p:nvCxnSpPr>
          <p:spPr>
            <a:xfrm flipH="1">
              <a:off x="9499622" y="1314626"/>
              <a:ext cx="364540" cy="0"/>
            </a:xfrm>
            <a:prstGeom prst="straightConnector1">
              <a:avLst/>
            </a:prstGeom>
            <a:ln w="38100" cmpd="sng">
              <a:solidFill>
                <a:srgbClr val="4ABDE5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50"/>
            <p:cNvSpPr/>
            <p:nvPr/>
          </p:nvSpPr>
          <p:spPr>
            <a:xfrm>
              <a:off x="9796658" y="1264490"/>
              <a:ext cx="108615" cy="108615"/>
            </a:xfrm>
            <a:prstGeom prst="ellipse">
              <a:avLst/>
            </a:prstGeom>
            <a:solidFill>
              <a:srgbClr val="4ABDE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883725" y="1178773"/>
              <a:ext cx="1950311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4ABDE5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Metadata in transit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4ABDE5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979567" y="3043923"/>
            <a:ext cx="275764" cy="275764"/>
            <a:chOff x="4979567" y="3043922"/>
            <a:chExt cx="275764" cy="275764"/>
          </a:xfrm>
        </p:grpSpPr>
        <p:sp>
          <p:nvSpPr>
            <p:cNvPr id="54" name="Oval 53"/>
            <p:cNvSpPr/>
            <p:nvPr/>
          </p:nvSpPr>
          <p:spPr>
            <a:xfrm>
              <a:off x="4979567" y="3043922"/>
              <a:ext cx="275764" cy="2757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5065627" y="3096404"/>
              <a:ext cx="105052" cy="163787"/>
              <a:chOff x="10890554" y="2242548"/>
              <a:chExt cx="648384" cy="1010893"/>
            </a:xfrm>
          </p:grpSpPr>
          <p:sp>
            <p:nvSpPr>
              <p:cNvPr id="56" name="Rectangle 177"/>
              <p:cNvSpPr/>
              <p:nvPr/>
            </p:nvSpPr>
            <p:spPr>
              <a:xfrm>
                <a:off x="10890554" y="2242548"/>
                <a:ext cx="648384" cy="1010893"/>
              </a:xfrm>
              <a:custGeom>
                <a:avLst/>
                <a:gdLst/>
                <a:ahLst/>
                <a:cxnLst/>
                <a:rect l="l" t="t" r="r" b="b"/>
                <a:pathLst>
                  <a:path w="648384" h="1010893">
                    <a:moveTo>
                      <a:pt x="324192" y="121633"/>
                    </a:moveTo>
                    <a:cubicBezTo>
                      <a:pt x="273809" y="121633"/>
                      <a:pt x="230582" y="152265"/>
                      <a:pt x="212117" y="195921"/>
                    </a:cubicBezTo>
                    <a:lnTo>
                      <a:pt x="204439" y="233952"/>
                    </a:lnTo>
                    <a:lnTo>
                      <a:pt x="204585" y="233952"/>
                    </a:lnTo>
                    <a:lnTo>
                      <a:pt x="204585" y="362509"/>
                    </a:lnTo>
                    <a:lnTo>
                      <a:pt x="443799" y="362509"/>
                    </a:lnTo>
                    <a:lnTo>
                      <a:pt x="443799" y="233952"/>
                    </a:lnTo>
                    <a:lnTo>
                      <a:pt x="443945" y="233952"/>
                    </a:lnTo>
                    <a:lnTo>
                      <a:pt x="436267" y="195921"/>
                    </a:lnTo>
                    <a:cubicBezTo>
                      <a:pt x="417802" y="152265"/>
                      <a:pt x="374575" y="121633"/>
                      <a:pt x="324192" y="121633"/>
                    </a:cubicBezTo>
                    <a:close/>
                    <a:moveTo>
                      <a:pt x="324192" y="0"/>
                    </a:moveTo>
                    <a:cubicBezTo>
                      <a:pt x="441751" y="0"/>
                      <a:pt x="539833" y="83387"/>
                      <a:pt x="562517" y="194240"/>
                    </a:cubicBezTo>
                    <a:lnTo>
                      <a:pt x="566520" y="233952"/>
                    </a:lnTo>
                    <a:lnTo>
                      <a:pt x="567459" y="233952"/>
                    </a:lnTo>
                    <a:lnTo>
                      <a:pt x="567459" y="243267"/>
                    </a:lnTo>
                    <a:lnTo>
                      <a:pt x="567459" y="367989"/>
                    </a:lnTo>
                    <a:lnTo>
                      <a:pt x="582382" y="371002"/>
                    </a:lnTo>
                    <a:cubicBezTo>
                      <a:pt x="621169" y="387407"/>
                      <a:pt x="648384" y="425813"/>
                      <a:pt x="648384" y="470575"/>
                    </a:cubicBezTo>
                    <a:lnTo>
                      <a:pt x="648384" y="902827"/>
                    </a:lnTo>
                    <a:cubicBezTo>
                      <a:pt x="648384" y="962510"/>
                      <a:pt x="600001" y="1010893"/>
                      <a:pt x="540318" y="1010893"/>
                    </a:cubicBezTo>
                    <a:lnTo>
                      <a:pt x="108066" y="1010893"/>
                    </a:lnTo>
                    <a:cubicBezTo>
                      <a:pt x="48383" y="1010893"/>
                      <a:pt x="0" y="962510"/>
                      <a:pt x="0" y="902827"/>
                    </a:cubicBezTo>
                    <a:lnTo>
                      <a:pt x="0" y="470575"/>
                    </a:lnTo>
                    <a:cubicBezTo>
                      <a:pt x="0" y="425813"/>
                      <a:pt x="27215" y="387407"/>
                      <a:pt x="66002" y="371002"/>
                    </a:cubicBezTo>
                    <a:lnTo>
                      <a:pt x="80925" y="367989"/>
                    </a:lnTo>
                    <a:lnTo>
                      <a:pt x="80925" y="243267"/>
                    </a:lnTo>
                    <a:lnTo>
                      <a:pt x="80925" y="233952"/>
                    </a:lnTo>
                    <a:lnTo>
                      <a:pt x="81864" y="233952"/>
                    </a:lnTo>
                    <a:lnTo>
                      <a:pt x="85867" y="194240"/>
                    </a:lnTo>
                    <a:cubicBezTo>
                      <a:pt x="108551" y="83387"/>
                      <a:pt x="206633" y="0"/>
                      <a:pt x="3241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7" name="Oval 178"/>
              <p:cNvSpPr/>
              <p:nvPr/>
            </p:nvSpPr>
            <p:spPr>
              <a:xfrm>
                <a:off x="11119496" y="2736886"/>
                <a:ext cx="190500" cy="338788"/>
              </a:xfrm>
              <a:custGeom>
                <a:avLst/>
                <a:gdLst/>
                <a:ahLst/>
                <a:cxnLst/>
                <a:rect l="l" t="t" r="r" b="b"/>
                <a:pathLst>
                  <a:path w="190500" h="338788">
                    <a:moveTo>
                      <a:pt x="95250" y="0"/>
                    </a:moveTo>
                    <a:cubicBezTo>
                      <a:pt x="147855" y="0"/>
                      <a:pt x="190500" y="42645"/>
                      <a:pt x="190500" y="95250"/>
                    </a:cubicBezTo>
                    <a:cubicBezTo>
                      <a:pt x="190500" y="121553"/>
                      <a:pt x="179839" y="145365"/>
                      <a:pt x="162602" y="162602"/>
                    </a:cubicBezTo>
                    <a:lnTo>
                      <a:pt x="138923" y="178567"/>
                    </a:lnTo>
                    <a:lnTo>
                      <a:pt x="165704" y="338788"/>
                    </a:lnTo>
                    <a:lnTo>
                      <a:pt x="24797" y="338788"/>
                    </a:lnTo>
                    <a:lnTo>
                      <a:pt x="51578" y="178568"/>
                    </a:lnTo>
                    <a:lnTo>
                      <a:pt x="27898" y="162602"/>
                    </a:lnTo>
                    <a:cubicBezTo>
                      <a:pt x="10661" y="145365"/>
                      <a:pt x="0" y="121553"/>
                      <a:pt x="0" y="95250"/>
                    </a:cubicBezTo>
                    <a:cubicBezTo>
                      <a:pt x="0" y="42645"/>
                      <a:pt x="42645" y="0"/>
                      <a:pt x="9525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sp>
        <p:nvSpPr>
          <p:cNvPr id="58" name="Rectangle 190"/>
          <p:cNvSpPr/>
          <p:nvPr/>
        </p:nvSpPr>
        <p:spPr>
          <a:xfrm>
            <a:off x="5075087" y="3330267"/>
            <a:ext cx="641884" cy="451632"/>
          </a:xfrm>
          <a:custGeom>
            <a:avLst/>
            <a:gdLst/>
            <a:ahLst/>
            <a:cxnLst/>
            <a:rect l="l" t="t" r="r" b="b"/>
            <a:pathLst>
              <a:path w="827268" h="582069">
                <a:moveTo>
                  <a:pt x="299833" y="0"/>
                </a:moveTo>
                <a:lnTo>
                  <a:pt x="610201" y="0"/>
                </a:lnTo>
                <a:lnTo>
                  <a:pt x="610201" y="74271"/>
                </a:lnTo>
                <a:lnTo>
                  <a:pt x="503254" y="74271"/>
                </a:lnTo>
                <a:lnTo>
                  <a:pt x="503254" y="112329"/>
                </a:lnTo>
                <a:lnTo>
                  <a:pt x="712152" y="112329"/>
                </a:lnTo>
                <a:lnTo>
                  <a:pt x="712152" y="263659"/>
                </a:lnTo>
                <a:lnTo>
                  <a:pt x="712152" y="305409"/>
                </a:lnTo>
                <a:lnTo>
                  <a:pt x="757531" y="305409"/>
                </a:lnTo>
                <a:lnTo>
                  <a:pt x="757531" y="212570"/>
                </a:lnTo>
                <a:lnTo>
                  <a:pt x="827268" y="212570"/>
                </a:lnTo>
                <a:lnTo>
                  <a:pt x="827268" y="479945"/>
                </a:lnTo>
                <a:lnTo>
                  <a:pt x="757531" y="479945"/>
                </a:lnTo>
                <a:lnTo>
                  <a:pt x="757531" y="390821"/>
                </a:lnTo>
                <a:lnTo>
                  <a:pt x="712152" y="390821"/>
                </a:lnTo>
                <a:lnTo>
                  <a:pt x="712152" y="435382"/>
                </a:lnTo>
                <a:lnTo>
                  <a:pt x="712152" y="439096"/>
                </a:lnTo>
                <a:lnTo>
                  <a:pt x="708882" y="439096"/>
                </a:lnTo>
                <a:lnTo>
                  <a:pt x="583001" y="582069"/>
                </a:lnTo>
                <a:lnTo>
                  <a:pt x="291266" y="582069"/>
                </a:lnTo>
                <a:lnTo>
                  <a:pt x="184853" y="478265"/>
                </a:lnTo>
                <a:lnTo>
                  <a:pt x="184853" y="479945"/>
                </a:lnTo>
                <a:lnTo>
                  <a:pt x="115116" y="479945"/>
                </a:lnTo>
                <a:lnTo>
                  <a:pt x="115116" y="390821"/>
                </a:lnTo>
                <a:lnTo>
                  <a:pt x="69737" y="390821"/>
                </a:lnTo>
                <a:lnTo>
                  <a:pt x="69737" y="479945"/>
                </a:lnTo>
                <a:lnTo>
                  <a:pt x="0" y="479945"/>
                </a:lnTo>
                <a:lnTo>
                  <a:pt x="0" y="212570"/>
                </a:lnTo>
                <a:lnTo>
                  <a:pt x="69737" y="212570"/>
                </a:lnTo>
                <a:lnTo>
                  <a:pt x="69737" y="305409"/>
                </a:lnTo>
                <a:lnTo>
                  <a:pt x="115116" y="305409"/>
                </a:lnTo>
                <a:lnTo>
                  <a:pt x="115116" y="212570"/>
                </a:lnTo>
                <a:lnTo>
                  <a:pt x="184853" y="212570"/>
                </a:lnTo>
                <a:lnTo>
                  <a:pt x="184853" y="215197"/>
                </a:lnTo>
                <a:lnTo>
                  <a:pt x="299250" y="114374"/>
                </a:lnTo>
                <a:lnTo>
                  <a:pt x="299833" y="114374"/>
                </a:lnTo>
                <a:lnTo>
                  <a:pt x="299833" y="112329"/>
                </a:lnTo>
                <a:lnTo>
                  <a:pt x="417842" y="112329"/>
                </a:lnTo>
                <a:lnTo>
                  <a:pt x="417842" y="74271"/>
                </a:lnTo>
                <a:lnTo>
                  <a:pt x="299833" y="74271"/>
                </a:lnTo>
                <a:close/>
              </a:path>
            </a:pathLst>
          </a:custGeom>
          <a:solidFill>
            <a:srgbClr val="2F56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9" name="Rectangle 200"/>
          <p:cNvSpPr/>
          <p:nvPr/>
        </p:nvSpPr>
        <p:spPr>
          <a:xfrm flipH="1">
            <a:off x="5317951" y="3503628"/>
            <a:ext cx="189623" cy="196281"/>
          </a:xfrm>
          <a:custGeom>
            <a:avLst/>
            <a:gdLst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66299 w 201508"/>
              <a:gd name="connsiteY2" fmla="*/ 92160 h 244162"/>
              <a:gd name="connsiteX3" fmla="*/ 131902 w 201508"/>
              <a:gd name="connsiteY3" fmla="*/ 90614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66299 w 201508"/>
              <a:gd name="connsiteY2" fmla="*/ 92160 h 244162"/>
              <a:gd name="connsiteX3" fmla="*/ 114658 w 201508"/>
              <a:gd name="connsiteY3" fmla="*/ 97512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93889 w 201508"/>
              <a:gd name="connsiteY2" fmla="*/ 99058 h 244162"/>
              <a:gd name="connsiteX3" fmla="*/ 114658 w 201508"/>
              <a:gd name="connsiteY3" fmla="*/ 97512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32547"/>
              <a:gd name="connsiteY0" fmla="*/ 0 h 240713"/>
              <a:gd name="connsiteX1" fmla="*/ 106766 w 232547"/>
              <a:gd name="connsiteY1" fmla="*/ 0 h 240713"/>
              <a:gd name="connsiteX2" fmla="*/ 193889 w 232547"/>
              <a:gd name="connsiteY2" fmla="*/ 99058 h 240713"/>
              <a:gd name="connsiteX3" fmla="*/ 114658 w 232547"/>
              <a:gd name="connsiteY3" fmla="*/ 97512 h 240713"/>
              <a:gd name="connsiteX4" fmla="*/ 232547 w 232547"/>
              <a:gd name="connsiteY4" fmla="*/ 240713 h 240713"/>
              <a:gd name="connsiteX5" fmla="*/ 22090 w 232547"/>
              <a:gd name="connsiteY5" fmla="*/ 90403 h 240713"/>
              <a:gd name="connsiteX6" fmla="*/ 84106 w 232547"/>
              <a:gd name="connsiteY6" fmla="*/ 87045 h 240713"/>
              <a:gd name="connsiteX7" fmla="*/ 0 w 232547"/>
              <a:gd name="connsiteY7" fmla="*/ 0 h 240713"/>
              <a:gd name="connsiteX0" fmla="*/ 0 w 232547"/>
              <a:gd name="connsiteY0" fmla="*/ 0 h 240713"/>
              <a:gd name="connsiteX1" fmla="*/ 106766 w 232547"/>
              <a:gd name="connsiteY1" fmla="*/ 0 h 240713"/>
              <a:gd name="connsiteX2" fmla="*/ 193889 w 232547"/>
              <a:gd name="connsiteY2" fmla="*/ 99058 h 240713"/>
              <a:gd name="connsiteX3" fmla="*/ 128453 w 232547"/>
              <a:gd name="connsiteY3" fmla="*/ 97512 h 240713"/>
              <a:gd name="connsiteX4" fmla="*/ 232547 w 232547"/>
              <a:gd name="connsiteY4" fmla="*/ 240713 h 240713"/>
              <a:gd name="connsiteX5" fmla="*/ 22090 w 232547"/>
              <a:gd name="connsiteY5" fmla="*/ 90403 h 240713"/>
              <a:gd name="connsiteX6" fmla="*/ 84106 w 232547"/>
              <a:gd name="connsiteY6" fmla="*/ 87045 h 240713"/>
              <a:gd name="connsiteX7" fmla="*/ 0 w 232547"/>
              <a:gd name="connsiteY7" fmla="*/ 0 h 240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2547" h="240713">
                <a:moveTo>
                  <a:pt x="0" y="0"/>
                </a:moveTo>
                <a:lnTo>
                  <a:pt x="106766" y="0"/>
                </a:lnTo>
                <a:lnTo>
                  <a:pt x="193889" y="99058"/>
                </a:lnTo>
                <a:lnTo>
                  <a:pt x="128453" y="97512"/>
                </a:lnTo>
                <a:lnTo>
                  <a:pt x="232547" y="240713"/>
                </a:lnTo>
                <a:lnTo>
                  <a:pt x="22090" y="90403"/>
                </a:lnTo>
                <a:lnTo>
                  <a:pt x="84106" y="870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539" y="2828912"/>
            <a:ext cx="1944721" cy="70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34225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738664"/>
          </a:xfrm>
        </p:spPr>
        <p:txBody>
          <a:bodyPr/>
          <a:lstStyle/>
          <a:p>
            <a:r>
              <a:rPr lang="en-US" dirty="0"/>
              <a:t>Talend Cloud Architecture</a:t>
            </a:r>
            <a:br>
              <a:rPr lang="en-US" dirty="0"/>
            </a:br>
            <a:r>
              <a:rPr lang="en-US" sz="2000" dirty="0"/>
              <a:t>Remote Engine On Premise</a:t>
            </a:r>
            <a:endParaRPr lang="en-US" dirty="0">
              <a:latin typeface="Roboto (Headings)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18746" y="1170420"/>
            <a:ext cx="2334415" cy="261610"/>
            <a:chOff x="9499622" y="1758589"/>
            <a:chExt cx="2334414" cy="261610"/>
          </a:xfrm>
        </p:grpSpPr>
        <p:cxnSp>
          <p:nvCxnSpPr>
            <p:cNvPr id="6" name="Straight Arrow Connector 5"/>
            <p:cNvCxnSpPr/>
            <p:nvPr/>
          </p:nvCxnSpPr>
          <p:spPr>
            <a:xfrm flipH="1">
              <a:off x="9499622" y="1902798"/>
              <a:ext cx="364540" cy="0"/>
            </a:xfrm>
            <a:prstGeom prst="straightConnector1">
              <a:avLst/>
            </a:prstGeom>
            <a:ln w="38100" cmpd="sng">
              <a:solidFill>
                <a:schemeClr val="accent6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6"/>
            <p:cNvSpPr/>
            <p:nvPr/>
          </p:nvSpPr>
          <p:spPr>
            <a:xfrm>
              <a:off x="9796658" y="1852662"/>
              <a:ext cx="108615" cy="1086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883725" y="1758589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91D1ED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Status &amp; Logs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91D1ED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sp>
        <p:nvSpPr>
          <p:cNvPr id="9" name="Rectangle 126"/>
          <p:cNvSpPr/>
          <p:nvPr/>
        </p:nvSpPr>
        <p:spPr>
          <a:xfrm>
            <a:off x="523393" y="1283793"/>
            <a:ext cx="5695835" cy="3094635"/>
          </a:xfrm>
          <a:custGeom>
            <a:avLst/>
            <a:gdLst/>
            <a:ahLst/>
            <a:cxnLst/>
            <a:rect l="l" t="t" r="r" b="b"/>
            <a:pathLst>
              <a:path w="5695835" h="3094635">
                <a:moveTo>
                  <a:pt x="3824625" y="0"/>
                </a:moveTo>
                <a:cubicBezTo>
                  <a:pt x="4225658" y="0"/>
                  <a:pt x="4550759" y="325101"/>
                  <a:pt x="4550759" y="726134"/>
                </a:cubicBezTo>
                <a:cubicBezTo>
                  <a:pt x="4550759" y="826392"/>
                  <a:pt x="4530440" y="921905"/>
                  <a:pt x="4493696" y="1008778"/>
                </a:cubicBezTo>
                <a:lnTo>
                  <a:pt x="4492674" y="1010662"/>
                </a:lnTo>
                <a:lnTo>
                  <a:pt x="4496451" y="1010281"/>
                </a:lnTo>
                <a:cubicBezTo>
                  <a:pt x="4714512" y="1010281"/>
                  <a:pt x="4891286" y="1187055"/>
                  <a:pt x="4891286" y="1405116"/>
                </a:cubicBezTo>
                <a:lnTo>
                  <a:pt x="4886473" y="1452864"/>
                </a:lnTo>
                <a:lnTo>
                  <a:pt x="4958612" y="1456507"/>
                </a:lnTo>
                <a:cubicBezTo>
                  <a:pt x="5372699" y="1498560"/>
                  <a:pt x="5695835" y="1848270"/>
                  <a:pt x="5695835" y="2273451"/>
                </a:cubicBezTo>
                <a:cubicBezTo>
                  <a:pt x="5695835" y="2698633"/>
                  <a:pt x="5372699" y="3048343"/>
                  <a:pt x="4958612" y="3090396"/>
                </a:cubicBezTo>
                <a:lnTo>
                  <a:pt x="4891286" y="3093795"/>
                </a:lnTo>
                <a:lnTo>
                  <a:pt x="4891286" y="3094635"/>
                </a:lnTo>
                <a:lnTo>
                  <a:pt x="4874651" y="3094635"/>
                </a:lnTo>
                <a:lnTo>
                  <a:pt x="821184" y="3094635"/>
                </a:lnTo>
                <a:lnTo>
                  <a:pt x="820260" y="3094635"/>
                </a:lnTo>
                <a:lnTo>
                  <a:pt x="820260" y="3094589"/>
                </a:lnTo>
                <a:lnTo>
                  <a:pt x="737223" y="3090396"/>
                </a:lnTo>
                <a:cubicBezTo>
                  <a:pt x="323136" y="3048343"/>
                  <a:pt x="0" y="2698633"/>
                  <a:pt x="0" y="2273451"/>
                </a:cubicBezTo>
                <a:cubicBezTo>
                  <a:pt x="0" y="1904960"/>
                  <a:pt x="242711" y="1593157"/>
                  <a:pt x="576989" y="1489186"/>
                </a:cubicBezTo>
                <a:lnTo>
                  <a:pt x="598150" y="1483745"/>
                </a:lnTo>
                <a:lnTo>
                  <a:pt x="593112" y="1467516"/>
                </a:lnTo>
                <a:cubicBezTo>
                  <a:pt x="586212" y="1433795"/>
                  <a:pt x="582588" y="1398880"/>
                  <a:pt x="582588" y="1363119"/>
                </a:cubicBezTo>
                <a:cubicBezTo>
                  <a:pt x="582588" y="1077031"/>
                  <a:pt x="814509" y="845110"/>
                  <a:pt x="1100597" y="845110"/>
                </a:cubicBezTo>
                <a:cubicBezTo>
                  <a:pt x="1136358" y="845110"/>
                  <a:pt x="1171273" y="848734"/>
                  <a:pt x="1204994" y="855634"/>
                </a:cubicBezTo>
                <a:lnTo>
                  <a:pt x="1249691" y="869509"/>
                </a:lnTo>
                <a:lnTo>
                  <a:pt x="1288325" y="798332"/>
                </a:lnTo>
                <a:cubicBezTo>
                  <a:pt x="1418817" y="605179"/>
                  <a:pt x="1639801" y="478186"/>
                  <a:pt x="1890447" y="478186"/>
                </a:cubicBezTo>
                <a:cubicBezTo>
                  <a:pt x="2040834" y="478186"/>
                  <a:pt x="2180544" y="523903"/>
                  <a:pt x="2296435" y="602198"/>
                </a:cubicBezTo>
                <a:lnTo>
                  <a:pt x="2324030" y="624966"/>
                </a:lnTo>
                <a:lnTo>
                  <a:pt x="2325086" y="624095"/>
                </a:lnTo>
                <a:cubicBezTo>
                  <a:pt x="2388102" y="581522"/>
                  <a:pt x="2464069" y="556663"/>
                  <a:pt x="2545842" y="556663"/>
                </a:cubicBezTo>
                <a:cubicBezTo>
                  <a:pt x="2573099" y="556663"/>
                  <a:pt x="2599712" y="559425"/>
                  <a:pt x="2625415" y="564685"/>
                </a:cubicBezTo>
                <a:lnTo>
                  <a:pt x="2641499" y="569677"/>
                </a:lnTo>
                <a:lnTo>
                  <a:pt x="2664318" y="496166"/>
                </a:lnTo>
                <a:cubicBezTo>
                  <a:pt x="2724257" y="354453"/>
                  <a:pt x="2864579" y="255018"/>
                  <a:pt x="3028125" y="255018"/>
                </a:cubicBezTo>
                <a:cubicBezTo>
                  <a:pt x="3082640" y="255018"/>
                  <a:pt x="3134575" y="266066"/>
                  <a:pt x="3181813" y="286046"/>
                </a:cubicBezTo>
                <a:lnTo>
                  <a:pt x="3229349" y="311848"/>
                </a:lnTo>
                <a:lnTo>
                  <a:pt x="3311171" y="212680"/>
                </a:lnTo>
                <a:cubicBezTo>
                  <a:pt x="3442575" y="81275"/>
                  <a:pt x="3624109" y="0"/>
                  <a:pt x="3824625" y="0"/>
                </a:cubicBezTo>
                <a:close/>
              </a:path>
            </a:pathLst>
          </a:custGeom>
          <a:solidFill>
            <a:srgbClr val="FFFFFF"/>
          </a:solidFill>
          <a:ln w="12700" cmpd="sng">
            <a:solidFill>
              <a:schemeClr val="bg2">
                <a:lumMod val="75000"/>
              </a:schemeClr>
            </a:solidFill>
          </a:ln>
          <a:effectLst>
            <a:glow rad="241300">
              <a:schemeClr val="accent5">
                <a:alpha val="13000"/>
              </a:schemeClr>
            </a:glow>
            <a:outerShdw blurRad="165100" sx="105000" sy="105000" algn="ctr" rotWithShape="0">
              <a:schemeClr val="bg2">
                <a:lumMod val="7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06683" y="4623788"/>
            <a:ext cx="11148407" cy="295493"/>
            <a:chOff x="506682" y="4498448"/>
            <a:chExt cx="11148407" cy="295493"/>
          </a:xfrm>
        </p:grpSpPr>
        <p:grpSp>
          <p:nvGrpSpPr>
            <p:cNvPr id="11" name="Group 10"/>
            <p:cNvGrpSpPr/>
            <p:nvPr/>
          </p:nvGrpSpPr>
          <p:grpSpPr>
            <a:xfrm>
              <a:off x="506682" y="4591345"/>
              <a:ext cx="11148407" cy="111586"/>
              <a:chOff x="506682" y="4566277"/>
              <a:chExt cx="11148407" cy="111586"/>
            </a:xfrm>
          </p:grpSpPr>
          <p:cxnSp>
            <p:nvCxnSpPr>
              <p:cNvPr id="18" name="Straight Connector 17"/>
              <p:cNvCxnSpPr>
                <a:endCxn id="20" idx="2"/>
              </p:cNvCxnSpPr>
              <p:nvPr/>
            </p:nvCxnSpPr>
            <p:spPr>
              <a:xfrm flipV="1">
                <a:off x="523392" y="4622070"/>
                <a:ext cx="11020111" cy="5813"/>
              </a:xfrm>
              <a:prstGeom prst="line">
                <a:avLst/>
              </a:prstGeom>
              <a:ln w="19050" cmpd="sng">
                <a:solidFill>
                  <a:srgbClr val="FF66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Oval 18"/>
              <p:cNvSpPr/>
              <p:nvPr/>
            </p:nvSpPr>
            <p:spPr>
              <a:xfrm>
                <a:off x="506682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11543503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802080" y="4498448"/>
              <a:ext cx="1670994" cy="295493"/>
              <a:chOff x="5714807" y="4473380"/>
              <a:chExt cx="1670994" cy="295493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9675066" y="4498448"/>
              <a:ext cx="1670994" cy="295493"/>
              <a:chOff x="5714807" y="4473380"/>
              <a:chExt cx="1670994" cy="295493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280910" y="5084192"/>
            <a:ext cx="1431007" cy="1007417"/>
            <a:chOff x="1825722" y="5148665"/>
            <a:chExt cx="1431007" cy="1007416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7678" y="5148665"/>
              <a:ext cx="962703" cy="1003669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825722" y="5940637"/>
              <a:ext cx="1431007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Talend Studio</a:t>
              </a:r>
            </a:p>
          </p:txBody>
        </p:sp>
      </p:grpSp>
      <p:sp>
        <p:nvSpPr>
          <p:cNvPr id="24" name="Rectangle 23"/>
          <p:cNvSpPr/>
          <p:nvPr/>
        </p:nvSpPr>
        <p:spPr>
          <a:xfrm>
            <a:off x="6554891" y="6242954"/>
            <a:ext cx="3241767" cy="236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-premises Apps &amp; Databases</a:t>
            </a:r>
          </a:p>
        </p:txBody>
      </p:sp>
      <p:sp>
        <p:nvSpPr>
          <p:cNvPr id="25" name="Oval 78"/>
          <p:cNvSpPr/>
          <p:nvPr/>
        </p:nvSpPr>
        <p:spPr>
          <a:xfrm>
            <a:off x="7407507" y="4974253"/>
            <a:ext cx="1282731" cy="1226971"/>
          </a:xfrm>
          <a:custGeom>
            <a:avLst/>
            <a:gdLst/>
            <a:ahLst/>
            <a:cxnLst/>
            <a:rect l="l" t="t" r="r" b="b"/>
            <a:pathLst>
              <a:path w="1946710" h="735239">
                <a:moveTo>
                  <a:pt x="367619" y="0"/>
                </a:moveTo>
                <a:lnTo>
                  <a:pt x="367629" y="1"/>
                </a:lnTo>
                <a:lnTo>
                  <a:pt x="1579081" y="1"/>
                </a:lnTo>
                <a:lnTo>
                  <a:pt x="1579091" y="0"/>
                </a:lnTo>
                <a:cubicBezTo>
                  <a:pt x="1782121" y="0"/>
                  <a:pt x="1946710" y="164589"/>
                  <a:pt x="1946710" y="367619"/>
                </a:cubicBezTo>
                <a:cubicBezTo>
                  <a:pt x="1946710" y="570649"/>
                  <a:pt x="1782121" y="735238"/>
                  <a:pt x="1579091" y="735238"/>
                </a:cubicBezTo>
                <a:lnTo>
                  <a:pt x="1579090" y="735238"/>
                </a:lnTo>
                <a:lnTo>
                  <a:pt x="1579090" y="735239"/>
                </a:lnTo>
                <a:lnTo>
                  <a:pt x="359264" y="735239"/>
                </a:lnTo>
                <a:lnTo>
                  <a:pt x="359264" y="734396"/>
                </a:lnTo>
                <a:lnTo>
                  <a:pt x="293531" y="727770"/>
                </a:lnTo>
                <a:cubicBezTo>
                  <a:pt x="126013" y="693490"/>
                  <a:pt x="0" y="545270"/>
                  <a:pt x="0" y="367619"/>
                </a:cubicBezTo>
                <a:cubicBezTo>
                  <a:pt x="0" y="189968"/>
                  <a:pt x="126013" y="41748"/>
                  <a:pt x="293531" y="7469"/>
                </a:cubicBezTo>
                <a:lnTo>
                  <a:pt x="359264" y="843"/>
                </a:lnTo>
                <a:lnTo>
                  <a:pt x="359264" y="1"/>
                </a:lnTo>
                <a:lnTo>
                  <a:pt x="367609" y="1"/>
                </a:lnTo>
                <a:close/>
              </a:path>
            </a:pathLst>
          </a:custGeom>
          <a:noFill/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26" name="Picture 25" descr="01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6762" y="5036022"/>
            <a:ext cx="464077" cy="522220"/>
          </a:xfrm>
          <a:prstGeom prst="rect">
            <a:avLst/>
          </a:prstGeom>
        </p:spPr>
      </p:pic>
      <p:pic>
        <p:nvPicPr>
          <p:cNvPr id="27" name="Picture 26" descr="01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2668" y="5614649"/>
            <a:ext cx="448171" cy="504320"/>
          </a:xfrm>
          <a:prstGeom prst="rect">
            <a:avLst/>
          </a:prstGeom>
        </p:spPr>
      </p:pic>
      <p:cxnSp>
        <p:nvCxnSpPr>
          <p:cNvPr id="28" name="Straight Arrow Connector 27"/>
          <p:cNvCxnSpPr/>
          <p:nvPr/>
        </p:nvCxnSpPr>
        <p:spPr>
          <a:xfrm flipH="1" flipV="1">
            <a:off x="4615026" y="4001476"/>
            <a:ext cx="414767" cy="903209"/>
          </a:xfrm>
          <a:prstGeom prst="straightConnector1">
            <a:avLst/>
          </a:prstGeom>
          <a:ln w="38100" cmpd="sng">
            <a:solidFill>
              <a:schemeClr val="accent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7328578" y="1169160"/>
            <a:ext cx="2334415" cy="261610"/>
            <a:chOff x="9499622" y="1471224"/>
            <a:chExt cx="2334414" cy="261610"/>
          </a:xfrm>
        </p:grpSpPr>
        <p:cxnSp>
          <p:nvCxnSpPr>
            <p:cNvPr id="30" name="Straight Arrow Connector 29"/>
            <p:cNvCxnSpPr/>
            <p:nvPr/>
          </p:nvCxnSpPr>
          <p:spPr>
            <a:xfrm flipH="1">
              <a:off x="9499622" y="1615433"/>
              <a:ext cx="364540" cy="0"/>
            </a:xfrm>
            <a:prstGeom prst="straightConnector1">
              <a:avLst/>
            </a:prstGeom>
            <a:ln w="38100" cmpd="sng">
              <a:solidFill>
                <a:schemeClr val="accent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9796658" y="1565297"/>
              <a:ext cx="108615" cy="108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883725" y="1471224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C1F56">
                      <a:lumMod val="75000"/>
                    </a:srgbClr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Customer data in transit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2C1F56">
                    <a:lumMod val="75000"/>
                  </a:srgbClr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cxnSp>
        <p:nvCxnSpPr>
          <p:cNvPr id="33" name="Straight Arrow Connector 32"/>
          <p:cNvCxnSpPr/>
          <p:nvPr/>
        </p:nvCxnSpPr>
        <p:spPr>
          <a:xfrm>
            <a:off x="2995259" y="4001475"/>
            <a:ext cx="0" cy="1082715"/>
          </a:xfrm>
          <a:prstGeom prst="straightConnector1">
            <a:avLst/>
          </a:prstGeom>
          <a:ln w="38100" cmpd="sng">
            <a:solidFill>
              <a:srgbClr val="4ABDE5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4" name="Group 33"/>
          <p:cNvGrpSpPr/>
          <p:nvPr/>
        </p:nvGrpSpPr>
        <p:grpSpPr>
          <a:xfrm>
            <a:off x="9499622" y="1178770"/>
            <a:ext cx="2334415" cy="244682"/>
            <a:chOff x="9499622" y="1178773"/>
            <a:chExt cx="2334414" cy="244682"/>
          </a:xfrm>
        </p:grpSpPr>
        <p:cxnSp>
          <p:nvCxnSpPr>
            <p:cNvPr id="35" name="Straight Arrow Connector 34"/>
            <p:cNvCxnSpPr/>
            <p:nvPr/>
          </p:nvCxnSpPr>
          <p:spPr>
            <a:xfrm flipH="1">
              <a:off x="9499622" y="1314626"/>
              <a:ext cx="364540" cy="0"/>
            </a:xfrm>
            <a:prstGeom prst="straightConnector1">
              <a:avLst/>
            </a:prstGeom>
            <a:ln w="38100" cmpd="sng">
              <a:solidFill>
                <a:srgbClr val="4ABDE5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/>
            <p:cNvSpPr/>
            <p:nvPr/>
          </p:nvSpPr>
          <p:spPr>
            <a:xfrm>
              <a:off x="9796658" y="1264490"/>
              <a:ext cx="108615" cy="108615"/>
            </a:xfrm>
            <a:prstGeom prst="ellipse">
              <a:avLst/>
            </a:prstGeom>
            <a:solidFill>
              <a:srgbClr val="4ABDE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883725" y="1178773"/>
              <a:ext cx="1950311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4ABDE5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Metadata in transit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4ABDE5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615026" y="4896348"/>
            <a:ext cx="1563927" cy="1240022"/>
            <a:chOff x="4615025" y="3043922"/>
            <a:chExt cx="1563926" cy="1240022"/>
          </a:xfrm>
        </p:grpSpPr>
        <p:sp>
          <p:nvSpPr>
            <p:cNvPr id="39" name="Oval 38"/>
            <p:cNvSpPr/>
            <p:nvPr/>
          </p:nvSpPr>
          <p:spPr>
            <a:xfrm>
              <a:off x="4979567" y="3139852"/>
              <a:ext cx="835554" cy="835554"/>
            </a:xfrm>
            <a:prstGeom prst="ellipse">
              <a:avLst/>
            </a:prstGeom>
            <a:solidFill>
              <a:srgbClr val="FFFFFF"/>
            </a:solidFill>
            <a:ln w="19050" cmpd="sng">
              <a:solidFill>
                <a:srgbClr val="2F5699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615025" y="3976167"/>
              <a:ext cx="1563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+mn-cs"/>
                </a:rPr>
                <a:t>Remote Engine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4979567" y="3043922"/>
              <a:ext cx="275764" cy="275764"/>
              <a:chOff x="4979567" y="3043922"/>
              <a:chExt cx="275764" cy="275764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grpSp>
            <p:nvGrpSpPr>
              <p:cNvPr id="45" name="Group 44"/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46" name="Rectangle 177"/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323E48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Oval 178"/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323E48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2" name="Rectangle 190"/>
            <p:cNvSpPr/>
            <p:nvPr/>
          </p:nvSpPr>
          <p:spPr>
            <a:xfrm>
              <a:off x="5075086" y="3330267"/>
              <a:ext cx="641884" cy="451632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2F569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3" name="Rectangle 200"/>
            <p:cNvSpPr/>
            <p:nvPr/>
          </p:nvSpPr>
          <p:spPr>
            <a:xfrm flipH="1">
              <a:off x="5317951" y="3503626"/>
              <a:ext cx="189622" cy="196281"/>
            </a:xfrm>
            <a:custGeom>
              <a:avLst/>
              <a:gdLst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66299 w 201508"/>
                <a:gd name="connsiteY2" fmla="*/ 92160 h 244162"/>
                <a:gd name="connsiteX3" fmla="*/ 131902 w 201508"/>
                <a:gd name="connsiteY3" fmla="*/ 90614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66299 w 201508"/>
                <a:gd name="connsiteY2" fmla="*/ 92160 h 244162"/>
                <a:gd name="connsiteX3" fmla="*/ 114658 w 201508"/>
                <a:gd name="connsiteY3" fmla="*/ 97512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93889 w 201508"/>
                <a:gd name="connsiteY2" fmla="*/ 99058 h 244162"/>
                <a:gd name="connsiteX3" fmla="*/ 114658 w 201508"/>
                <a:gd name="connsiteY3" fmla="*/ 97512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32547"/>
                <a:gd name="connsiteY0" fmla="*/ 0 h 240713"/>
                <a:gd name="connsiteX1" fmla="*/ 106766 w 232547"/>
                <a:gd name="connsiteY1" fmla="*/ 0 h 240713"/>
                <a:gd name="connsiteX2" fmla="*/ 193889 w 232547"/>
                <a:gd name="connsiteY2" fmla="*/ 99058 h 240713"/>
                <a:gd name="connsiteX3" fmla="*/ 114658 w 232547"/>
                <a:gd name="connsiteY3" fmla="*/ 97512 h 240713"/>
                <a:gd name="connsiteX4" fmla="*/ 232547 w 232547"/>
                <a:gd name="connsiteY4" fmla="*/ 240713 h 240713"/>
                <a:gd name="connsiteX5" fmla="*/ 22090 w 232547"/>
                <a:gd name="connsiteY5" fmla="*/ 90403 h 240713"/>
                <a:gd name="connsiteX6" fmla="*/ 84106 w 232547"/>
                <a:gd name="connsiteY6" fmla="*/ 87045 h 240713"/>
                <a:gd name="connsiteX7" fmla="*/ 0 w 232547"/>
                <a:gd name="connsiteY7" fmla="*/ 0 h 240713"/>
                <a:gd name="connsiteX0" fmla="*/ 0 w 232547"/>
                <a:gd name="connsiteY0" fmla="*/ 0 h 240713"/>
                <a:gd name="connsiteX1" fmla="*/ 106766 w 232547"/>
                <a:gd name="connsiteY1" fmla="*/ 0 h 240713"/>
                <a:gd name="connsiteX2" fmla="*/ 193889 w 232547"/>
                <a:gd name="connsiteY2" fmla="*/ 99058 h 240713"/>
                <a:gd name="connsiteX3" fmla="*/ 128453 w 232547"/>
                <a:gd name="connsiteY3" fmla="*/ 97512 h 240713"/>
                <a:gd name="connsiteX4" fmla="*/ 232547 w 232547"/>
                <a:gd name="connsiteY4" fmla="*/ 240713 h 240713"/>
                <a:gd name="connsiteX5" fmla="*/ 22090 w 232547"/>
                <a:gd name="connsiteY5" fmla="*/ 90403 h 240713"/>
                <a:gd name="connsiteX6" fmla="*/ 84106 w 232547"/>
                <a:gd name="connsiteY6" fmla="*/ 87045 h 240713"/>
                <a:gd name="connsiteX7" fmla="*/ 0 w 232547"/>
                <a:gd name="connsiteY7" fmla="*/ 0 h 240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547" h="240713">
                  <a:moveTo>
                    <a:pt x="0" y="0"/>
                  </a:moveTo>
                  <a:lnTo>
                    <a:pt x="106766" y="0"/>
                  </a:lnTo>
                  <a:lnTo>
                    <a:pt x="193889" y="99058"/>
                  </a:lnTo>
                  <a:lnTo>
                    <a:pt x="128453" y="97512"/>
                  </a:lnTo>
                  <a:lnTo>
                    <a:pt x="232547" y="240713"/>
                  </a:lnTo>
                  <a:lnTo>
                    <a:pt x="22090" y="90403"/>
                  </a:lnTo>
                  <a:lnTo>
                    <a:pt x="84106" y="87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48" name="Oval 47"/>
          <p:cNvSpPr/>
          <p:nvPr/>
        </p:nvSpPr>
        <p:spPr>
          <a:xfrm>
            <a:off x="4979569" y="4864974"/>
            <a:ext cx="108615" cy="10861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49" name="Straight Arrow Connector 48"/>
          <p:cNvCxnSpPr>
            <a:cxnSpLocks/>
          </p:cNvCxnSpPr>
          <p:nvPr/>
        </p:nvCxnSpPr>
        <p:spPr>
          <a:xfrm>
            <a:off x="5878194" y="5319385"/>
            <a:ext cx="1901868" cy="1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A0097DF7-9CFD-6944-8C03-76E0201DCDFD}"/>
              </a:ext>
            </a:extLst>
          </p:cNvPr>
          <p:cNvCxnSpPr>
            <a:cxnSpLocks/>
          </p:cNvCxnSpPr>
          <p:nvPr/>
        </p:nvCxnSpPr>
        <p:spPr>
          <a:xfrm>
            <a:off x="5812490" y="5620434"/>
            <a:ext cx="1986941" cy="253852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" name="Picture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139" y="2814625"/>
            <a:ext cx="1944721" cy="70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33502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738664"/>
          </a:xfrm>
        </p:spPr>
        <p:txBody>
          <a:bodyPr/>
          <a:lstStyle/>
          <a:p>
            <a:r>
              <a:rPr lang="en-US" dirty="0"/>
              <a:t>Talend Cloud Architecture</a:t>
            </a:r>
            <a:br>
              <a:rPr lang="en-US" dirty="0"/>
            </a:br>
            <a:r>
              <a:rPr lang="en-US" sz="2000" dirty="0"/>
              <a:t>Remote Engine On Premise</a:t>
            </a:r>
            <a:endParaRPr lang="en-US" dirty="0">
              <a:latin typeface="Roboto (Headings)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318746" y="1170420"/>
            <a:ext cx="2334415" cy="261610"/>
            <a:chOff x="9499622" y="1758589"/>
            <a:chExt cx="2334414" cy="261610"/>
          </a:xfrm>
        </p:grpSpPr>
        <p:cxnSp>
          <p:nvCxnSpPr>
            <p:cNvPr id="4" name="Straight Arrow Connector 3"/>
            <p:cNvCxnSpPr/>
            <p:nvPr/>
          </p:nvCxnSpPr>
          <p:spPr>
            <a:xfrm flipH="1">
              <a:off x="9499622" y="1902798"/>
              <a:ext cx="364540" cy="0"/>
            </a:xfrm>
            <a:prstGeom prst="straightConnector1">
              <a:avLst/>
            </a:prstGeom>
            <a:ln w="38100" cmpd="sng">
              <a:solidFill>
                <a:schemeClr val="accent6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Oval 5"/>
            <p:cNvSpPr/>
            <p:nvPr/>
          </p:nvSpPr>
          <p:spPr>
            <a:xfrm>
              <a:off x="9796658" y="1852662"/>
              <a:ext cx="108615" cy="1086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9883725" y="1758589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91D1ED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Status &amp; Logs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91D1ED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sp>
        <p:nvSpPr>
          <p:cNvPr id="8" name="Rectangle 126"/>
          <p:cNvSpPr/>
          <p:nvPr/>
        </p:nvSpPr>
        <p:spPr>
          <a:xfrm>
            <a:off x="523393" y="1283793"/>
            <a:ext cx="5695835" cy="3094635"/>
          </a:xfrm>
          <a:custGeom>
            <a:avLst/>
            <a:gdLst/>
            <a:ahLst/>
            <a:cxnLst/>
            <a:rect l="l" t="t" r="r" b="b"/>
            <a:pathLst>
              <a:path w="5695835" h="3094635">
                <a:moveTo>
                  <a:pt x="3824625" y="0"/>
                </a:moveTo>
                <a:cubicBezTo>
                  <a:pt x="4225658" y="0"/>
                  <a:pt x="4550759" y="325101"/>
                  <a:pt x="4550759" y="726134"/>
                </a:cubicBezTo>
                <a:cubicBezTo>
                  <a:pt x="4550759" y="826392"/>
                  <a:pt x="4530440" y="921905"/>
                  <a:pt x="4493696" y="1008778"/>
                </a:cubicBezTo>
                <a:lnTo>
                  <a:pt x="4492674" y="1010662"/>
                </a:lnTo>
                <a:lnTo>
                  <a:pt x="4496451" y="1010281"/>
                </a:lnTo>
                <a:cubicBezTo>
                  <a:pt x="4714512" y="1010281"/>
                  <a:pt x="4891286" y="1187055"/>
                  <a:pt x="4891286" y="1405116"/>
                </a:cubicBezTo>
                <a:lnTo>
                  <a:pt x="4886473" y="1452864"/>
                </a:lnTo>
                <a:lnTo>
                  <a:pt x="4958612" y="1456507"/>
                </a:lnTo>
                <a:cubicBezTo>
                  <a:pt x="5372699" y="1498560"/>
                  <a:pt x="5695835" y="1848270"/>
                  <a:pt x="5695835" y="2273451"/>
                </a:cubicBezTo>
                <a:cubicBezTo>
                  <a:pt x="5695835" y="2698633"/>
                  <a:pt x="5372699" y="3048343"/>
                  <a:pt x="4958612" y="3090396"/>
                </a:cubicBezTo>
                <a:lnTo>
                  <a:pt x="4891286" y="3093795"/>
                </a:lnTo>
                <a:lnTo>
                  <a:pt x="4891286" y="3094635"/>
                </a:lnTo>
                <a:lnTo>
                  <a:pt x="4874651" y="3094635"/>
                </a:lnTo>
                <a:lnTo>
                  <a:pt x="821184" y="3094635"/>
                </a:lnTo>
                <a:lnTo>
                  <a:pt x="820260" y="3094635"/>
                </a:lnTo>
                <a:lnTo>
                  <a:pt x="820260" y="3094589"/>
                </a:lnTo>
                <a:lnTo>
                  <a:pt x="737223" y="3090396"/>
                </a:lnTo>
                <a:cubicBezTo>
                  <a:pt x="323136" y="3048343"/>
                  <a:pt x="0" y="2698633"/>
                  <a:pt x="0" y="2273451"/>
                </a:cubicBezTo>
                <a:cubicBezTo>
                  <a:pt x="0" y="1904960"/>
                  <a:pt x="242711" y="1593157"/>
                  <a:pt x="576989" y="1489186"/>
                </a:cubicBezTo>
                <a:lnTo>
                  <a:pt x="598150" y="1483745"/>
                </a:lnTo>
                <a:lnTo>
                  <a:pt x="593112" y="1467516"/>
                </a:lnTo>
                <a:cubicBezTo>
                  <a:pt x="586212" y="1433795"/>
                  <a:pt x="582588" y="1398880"/>
                  <a:pt x="582588" y="1363119"/>
                </a:cubicBezTo>
                <a:cubicBezTo>
                  <a:pt x="582588" y="1077031"/>
                  <a:pt x="814509" y="845110"/>
                  <a:pt x="1100597" y="845110"/>
                </a:cubicBezTo>
                <a:cubicBezTo>
                  <a:pt x="1136358" y="845110"/>
                  <a:pt x="1171273" y="848734"/>
                  <a:pt x="1204994" y="855634"/>
                </a:cubicBezTo>
                <a:lnTo>
                  <a:pt x="1249691" y="869509"/>
                </a:lnTo>
                <a:lnTo>
                  <a:pt x="1288325" y="798332"/>
                </a:lnTo>
                <a:cubicBezTo>
                  <a:pt x="1418817" y="605179"/>
                  <a:pt x="1639801" y="478186"/>
                  <a:pt x="1890447" y="478186"/>
                </a:cubicBezTo>
                <a:cubicBezTo>
                  <a:pt x="2040834" y="478186"/>
                  <a:pt x="2180544" y="523903"/>
                  <a:pt x="2296435" y="602198"/>
                </a:cubicBezTo>
                <a:lnTo>
                  <a:pt x="2324030" y="624966"/>
                </a:lnTo>
                <a:lnTo>
                  <a:pt x="2325086" y="624095"/>
                </a:lnTo>
                <a:cubicBezTo>
                  <a:pt x="2388102" y="581522"/>
                  <a:pt x="2464069" y="556663"/>
                  <a:pt x="2545842" y="556663"/>
                </a:cubicBezTo>
                <a:cubicBezTo>
                  <a:pt x="2573099" y="556663"/>
                  <a:pt x="2599712" y="559425"/>
                  <a:pt x="2625415" y="564685"/>
                </a:cubicBezTo>
                <a:lnTo>
                  <a:pt x="2641499" y="569677"/>
                </a:lnTo>
                <a:lnTo>
                  <a:pt x="2664318" y="496166"/>
                </a:lnTo>
                <a:cubicBezTo>
                  <a:pt x="2724257" y="354453"/>
                  <a:pt x="2864579" y="255018"/>
                  <a:pt x="3028125" y="255018"/>
                </a:cubicBezTo>
                <a:cubicBezTo>
                  <a:pt x="3082640" y="255018"/>
                  <a:pt x="3134575" y="266066"/>
                  <a:pt x="3181813" y="286046"/>
                </a:cubicBezTo>
                <a:lnTo>
                  <a:pt x="3229349" y="311848"/>
                </a:lnTo>
                <a:lnTo>
                  <a:pt x="3311171" y="212680"/>
                </a:lnTo>
                <a:cubicBezTo>
                  <a:pt x="3442575" y="81275"/>
                  <a:pt x="3624109" y="0"/>
                  <a:pt x="3824625" y="0"/>
                </a:cubicBezTo>
                <a:close/>
              </a:path>
            </a:pathLst>
          </a:custGeom>
          <a:solidFill>
            <a:srgbClr val="FFFFFF"/>
          </a:solidFill>
          <a:ln w="12700" cmpd="sng">
            <a:solidFill>
              <a:schemeClr val="bg2">
                <a:lumMod val="75000"/>
              </a:schemeClr>
            </a:solidFill>
          </a:ln>
          <a:effectLst>
            <a:glow rad="241300">
              <a:schemeClr val="accent5">
                <a:alpha val="13000"/>
              </a:schemeClr>
            </a:glow>
            <a:outerShdw blurRad="165100" sx="105000" sy="105000" algn="ctr" rotWithShape="0">
              <a:schemeClr val="bg2">
                <a:lumMod val="7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06683" y="4623788"/>
            <a:ext cx="11148407" cy="295493"/>
            <a:chOff x="506682" y="4498448"/>
            <a:chExt cx="11148407" cy="295493"/>
          </a:xfrm>
        </p:grpSpPr>
        <p:grpSp>
          <p:nvGrpSpPr>
            <p:cNvPr id="10" name="Group 9"/>
            <p:cNvGrpSpPr/>
            <p:nvPr/>
          </p:nvGrpSpPr>
          <p:grpSpPr>
            <a:xfrm>
              <a:off x="506682" y="4591345"/>
              <a:ext cx="11148407" cy="111586"/>
              <a:chOff x="506682" y="4566277"/>
              <a:chExt cx="11148407" cy="111586"/>
            </a:xfrm>
          </p:grpSpPr>
          <p:cxnSp>
            <p:nvCxnSpPr>
              <p:cNvPr id="17" name="Straight Connector 16"/>
              <p:cNvCxnSpPr>
                <a:endCxn id="19" idx="2"/>
              </p:cNvCxnSpPr>
              <p:nvPr/>
            </p:nvCxnSpPr>
            <p:spPr>
              <a:xfrm flipV="1">
                <a:off x="523392" y="4622070"/>
                <a:ext cx="11020111" cy="5813"/>
              </a:xfrm>
              <a:prstGeom prst="line">
                <a:avLst/>
              </a:prstGeom>
              <a:ln w="19050" cmpd="sng">
                <a:solidFill>
                  <a:srgbClr val="FF66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Oval 17"/>
              <p:cNvSpPr/>
              <p:nvPr/>
            </p:nvSpPr>
            <p:spPr>
              <a:xfrm>
                <a:off x="506682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11543503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802080" y="4498448"/>
              <a:ext cx="1670994" cy="295493"/>
              <a:chOff x="5714807" y="4473380"/>
              <a:chExt cx="1670994" cy="295493"/>
            </a:xfrm>
          </p:grpSpPr>
          <p:sp>
            <p:nvSpPr>
              <p:cNvPr id="15" name="Rounded Rectangle 14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9675066" y="4498448"/>
              <a:ext cx="1670994" cy="295493"/>
              <a:chOff x="5714807" y="4473380"/>
              <a:chExt cx="1670994" cy="295493"/>
            </a:xfrm>
          </p:grpSpPr>
          <p:sp>
            <p:nvSpPr>
              <p:cNvPr id="13" name="Rounded Rectangle 12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2291027" y="5074736"/>
            <a:ext cx="1431007" cy="1007417"/>
            <a:chOff x="1825722" y="5148665"/>
            <a:chExt cx="1431007" cy="1007416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7678" y="5148665"/>
              <a:ext cx="962703" cy="100366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1825722" y="5940637"/>
              <a:ext cx="1431007" cy="215444"/>
            </a:xfrm>
            <a:prstGeom prst="rect">
              <a:avLst/>
            </a:prstGeom>
            <a:solidFill>
              <a:srgbClr val="FDFDFD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Talend Studio</a:t>
              </a:r>
            </a:p>
          </p:txBody>
        </p:sp>
      </p:grpSp>
      <p:sp>
        <p:nvSpPr>
          <p:cNvPr id="23" name="Rectangle 22"/>
          <p:cNvSpPr/>
          <p:nvPr/>
        </p:nvSpPr>
        <p:spPr>
          <a:xfrm>
            <a:off x="6926259" y="5876033"/>
            <a:ext cx="3241767" cy="236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-premises Apps &amp; Database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586319" y="5107370"/>
            <a:ext cx="1946711" cy="735239"/>
            <a:chOff x="7653159" y="5107369"/>
            <a:chExt cx="1946710" cy="735239"/>
          </a:xfrm>
        </p:grpSpPr>
        <p:sp>
          <p:nvSpPr>
            <p:cNvPr id="25" name="Oval 78"/>
            <p:cNvSpPr/>
            <p:nvPr/>
          </p:nvSpPr>
          <p:spPr>
            <a:xfrm>
              <a:off x="7653159" y="5107369"/>
              <a:ext cx="1946710" cy="735239"/>
            </a:xfrm>
            <a:custGeom>
              <a:avLst/>
              <a:gdLst/>
              <a:ahLst/>
              <a:cxnLst/>
              <a:rect l="l" t="t" r="r" b="b"/>
              <a:pathLst>
                <a:path w="1946710" h="735239">
                  <a:moveTo>
                    <a:pt x="367619" y="0"/>
                  </a:moveTo>
                  <a:lnTo>
                    <a:pt x="367629" y="1"/>
                  </a:lnTo>
                  <a:lnTo>
                    <a:pt x="1579081" y="1"/>
                  </a:lnTo>
                  <a:lnTo>
                    <a:pt x="1579091" y="0"/>
                  </a:lnTo>
                  <a:cubicBezTo>
                    <a:pt x="1782121" y="0"/>
                    <a:pt x="1946710" y="164589"/>
                    <a:pt x="1946710" y="367619"/>
                  </a:cubicBezTo>
                  <a:cubicBezTo>
                    <a:pt x="1946710" y="570649"/>
                    <a:pt x="1782121" y="735238"/>
                    <a:pt x="1579091" y="735238"/>
                  </a:cubicBezTo>
                  <a:lnTo>
                    <a:pt x="1579090" y="735238"/>
                  </a:lnTo>
                  <a:lnTo>
                    <a:pt x="1579090" y="735239"/>
                  </a:lnTo>
                  <a:lnTo>
                    <a:pt x="359264" y="735239"/>
                  </a:lnTo>
                  <a:lnTo>
                    <a:pt x="359264" y="734396"/>
                  </a:lnTo>
                  <a:lnTo>
                    <a:pt x="293531" y="727770"/>
                  </a:lnTo>
                  <a:cubicBezTo>
                    <a:pt x="126013" y="693490"/>
                    <a:pt x="0" y="545270"/>
                    <a:pt x="0" y="367619"/>
                  </a:cubicBezTo>
                  <a:cubicBezTo>
                    <a:pt x="0" y="189968"/>
                    <a:pt x="126013" y="41748"/>
                    <a:pt x="293531" y="7469"/>
                  </a:cubicBezTo>
                  <a:lnTo>
                    <a:pt x="359264" y="843"/>
                  </a:lnTo>
                  <a:lnTo>
                    <a:pt x="359264" y="1"/>
                  </a:lnTo>
                  <a:lnTo>
                    <a:pt x="367609" y="1"/>
                  </a:lnTo>
                  <a:close/>
                </a:path>
              </a:pathLst>
            </a:custGeom>
            <a:noFill/>
            <a:ln w="1905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pic>
          <p:nvPicPr>
            <p:cNvPr id="26" name="Picture 25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602" y="5239068"/>
              <a:ext cx="413979" cy="465844"/>
            </a:xfrm>
            <a:prstGeom prst="rect">
              <a:avLst/>
            </a:prstGeom>
          </p:spPr>
        </p:pic>
        <p:pic>
          <p:nvPicPr>
            <p:cNvPr id="27" name="Picture 26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4143" y="5239068"/>
              <a:ext cx="413979" cy="465844"/>
            </a:xfrm>
            <a:prstGeom prst="rect">
              <a:avLst/>
            </a:prstGeom>
          </p:spPr>
        </p:pic>
        <p:pic>
          <p:nvPicPr>
            <p:cNvPr id="28" name="Picture 27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44684" y="5239068"/>
              <a:ext cx="413979" cy="465844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7569609" y="2045267"/>
            <a:ext cx="835555" cy="835555"/>
            <a:chOff x="7719999" y="2220738"/>
            <a:chExt cx="835554" cy="835554"/>
          </a:xfrm>
        </p:grpSpPr>
        <p:sp>
          <p:nvSpPr>
            <p:cNvPr id="30" name="Oval 29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1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569609" y="3131519"/>
            <a:ext cx="835555" cy="835555"/>
            <a:chOff x="7719999" y="2220738"/>
            <a:chExt cx="835554" cy="835554"/>
          </a:xfrm>
        </p:grpSpPr>
        <p:sp>
          <p:nvSpPr>
            <p:cNvPr id="33" name="Oval 32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4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8463649" y="2295058"/>
            <a:ext cx="235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Cloud File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463649" y="3388682"/>
            <a:ext cx="235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SaaS Apps</a:t>
            </a:r>
          </a:p>
        </p:txBody>
      </p:sp>
      <p:cxnSp>
        <p:nvCxnSpPr>
          <p:cNvPr id="37" name="Straight Arrow Connector 36"/>
          <p:cNvCxnSpPr/>
          <p:nvPr/>
        </p:nvCxnSpPr>
        <p:spPr>
          <a:xfrm flipH="1" flipV="1">
            <a:off x="4615026" y="4001476"/>
            <a:ext cx="414767" cy="903209"/>
          </a:xfrm>
          <a:prstGeom prst="straightConnector1">
            <a:avLst/>
          </a:prstGeom>
          <a:ln w="38100" cmpd="sng">
            <a:solidFill>
              <a:schemeClr val="accent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7328578" y="1169160"/>
            <a:ext cx="2334415" cy="261610"/>
            <a:chOff x="9499622" y="1471224"/>
            <a:chExt cx="2334414" cy="261610"/>
          </a:xfrm>
        </p:grpSpPr>
        <p:cxnSp>
          <p:nvCxnSpPr>
            <p:cNvPr id="39" name="Straight Arrow Connector 38"/>
            <p:cNvCxnSpPr/>
            <p:nvPr/>
          </p:nvCxnSpPr>
          <p:spPr>
            <a:xfrm flipH="1">
              <a:off x="9499622" y="1615433"/>
              <a:ext cx="364540" cy="0"/>
            </a:xfrm>
            <a:prstGeom prst="straightConnector1">
              <a:avLst/>
            </a:prstGeom>
            <a:ln w="38100" cmpd="sng">
              <a:solidFill>
                <a:schemeClr val="accent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9796658" y="1565297"/>
              <a:ext cx="108615" cy="108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83725" y="1471224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C1F56">
                      <a:lumMod val="75000"/>
                    </a:srgbClr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Customer data in transit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2C1F56">
                    <a:lumMod val="75000"/>
                  </a:srgbClr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cxnSp>
        <p:nvCxnSpPr>
          <p:cNvPr id="42" name="Straight Arrow Connector 41"/>
          <p:cNvCxnSpPr/>
          <p:nvPr/>
        </p:nvCxnSpPr>
        <p:spPr>
          <a:xfrm flipV="1">
            <a:off x="5756637" y="3554249"/>
            <a:ext cx="1779553" cy="1529563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2995259" y="4001475"/>
            <a:ext cx="0" cy="1082715"/>
          </a:xfrm>
          <a:prstGeom prst="straightConnector1">
            <a:avLst/>
          </a:prstGeom>
          <a:ln w="38100" cmpd="sng">
            <a:solidFill>
              <a:srgbClr val="4ABDE5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9499622" y="1178770"/>
            <a:ext cx="2334415" cy="244682"/>
            <a:chOff x="9499622" y="1178773"/>
            <a:chExt cx="2334414" cy="244682"/>
          </a:xfrm>
        </p:grpSpPr>
        <p:cxnSp>
          <p:nvCxnSpPr>
            <p:cNvPr id="45" name="Straight Arrow Connector 44"/>
            <p:cNvCxnSpPr/>
            <p:nvPr/>
          </p:nvCxnSpPr>
          <p:spPr>
            <a:xfrm flipH="1">
              <a:off x="9499622" y="1314626"/>
              <a:ext cx="364540" cy="0"/>
            </a:xfrm>
            <a:prstGeom prst="straightConnector1">
              <a:avLst/>
            </a:prstGeom>
            <a:ln w="38100" cmpd="sng">
              <a:solidFill>
                <a:srgbClr val="4ABDE5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/>
            <p:cNvSpPr/>
            <p:nvPr/>
          </p:nvSpPr>
          <p:spPr>
            <a:xfrm>
              <a:off x="9796658" y="1264490"/>
              <a:ext cx="108615" cy="108615"/>
            </a:xfrm>
            <a:prstGeom prst="ellipse">
              <a:avLst/>
            </a:prstGeom>
            <a:solidFill>
              <a:srgbClr val="4ABDE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9883725" y="1178773"/>
              <a:ext cx="1950311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4ABDE5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Metadata in transit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4ABDE5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615026" y="4896348"/>
            <a:ext cx="1563927" cy="1240022"/>
            <a:chOff x="4615025" y="3043922"/>
            <a:chExt cx="1563926" cy="1240022"/>
          </a:xfrm>
        </p:grpSpPr>
        <p:sp>
          <p:nvSpPr>
            <p:cNvPr id="49" name="Oval 48"/>
            <p:cNvSpPr/>
            <p:nvPr/>
          </p:nvSpPr>
          <p:spPr>
            <a:xfrm>
              <a:off x="4979567" y="3139852"/>
              <a:ext cx="835554" cy="835554"/>
            </a:xfrm>
            <a:prstGeom prst="ellipse">
              <a:avLst/>
            </a:prstGeom>
            <a:solidFill>
              <a:srgbClr val="FFFFFF"/>
            </a:solidFill>
            <a:ln w="19050" cmpd="sng">
              <a:solidFill>
                <a:srgbClr val="2F5699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615025" y="3976167"/>
              <a:ext cx="1563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+mn-cs"/>
                </a:rPr>
                <a:t>Remote Engin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979567" y="3043922"/>
              <a:ext cx="275764" cy="275764"/>
              <a:chOff x="4979567" y="3043922"/>
              <a:chExt cx="275764" cy="275764"/>
            </a:xfrm>
          </p:grpSpPr>
          <p:sp>
            <p:nvSpPr>
              <p:cNvPr id="54" name="Oval 53"/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323E48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56" name="Rectangle 177"/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323E48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Oval 178"/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323E48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Rectangle 190"/>
            <p:cNvSpPr/>
            <p:nvPr/>
          </p:nvSpPr>
          <p:spPr>
            <a:xfrm>
              <a:off x="5075086" y="3330267"/>
              <a:ext cx="641884" cy="451632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2F569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3" name="Rectangle 200"/>
            <p:cNvSpPr/>
            <p:nvPr/>
          </p:nvSpPr>
          <p:spPr>
            <a:xfrm flipH="1">
              <a:off x="5317951" y="3503626"/>
              <a:ext cx="189622" cy="196281"/>
            </a:xfrm>
            <a:custGeom>
              <a:avLst/>
              <a:gdLst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66299 w 201508"/>
                <a:gd name="connsiteY2" fmla="*/ 92160 h 244162"/>
                <a:gd name="connsiteX3" fmla="*/ 131902 w 201508"/>
                <a:gd name="connsiteY3" fmla="*/ 90614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66299 w 201508"/>
                <a:gd name="connsiteY2" fmla="*/ 92160 h 244162"/>
                <a:gd name="connsiteX3" fmla="*/ 114658 w 201508"/>
                <a:gd name="connsiteY3" fmla="*/ 97512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01508"/>
                <a:gd name="connsiteY0" fmla="*/ 0 h 244162"/>
                <a:gd name="connsiteX1" fmla="*/ 106766 w 201508"/>
                <a:gd name="connsiteY1" fmla="*/ 0 h 244162"/>
                <a:gd name="connsiteX2" fmla="*/ 193889 w 201508"/>
                <a:gd name="connsiteY2" fmla="*/ 99058 h 244162"/>
                <a:gd name="connsiteX3" fmla="*/ 114658 w 201508"/>
                <a:gd name="connsiteY3" fmla="*/ 97512 h 244162"/>
                <a:gd name="connsiteX4" fmla="*/ 201508 w 201508"/>
                <a:gd name="connsiteY4" fmla="*/ 244162 h 244162"/>
                <a:gd name="connsiteX5" fmla="*/ 22090 w 201508"/>
                <a:gd name="connsiteY5" fmla="*/ 90403 h 244162"/>
                <a:gd name="connsiteX6" fmla="*/ 84106 w 201508"/>
                <a:gd name="connsiteY6" fmla="*/ 87045 h 244162"/>
                <a:gd name="connsiteX7" fmla="*/ 0 w 201508"/>
                <a:gd name="connsiteY7" fmla="*/ 0 h 244162"/>
                <a:gd name="connsiteX0" fmla="*/ 0 w 232547"/>
                <a:gd name="connsiteY0" fmla="*/ 0 h 240713"/>
                <a:gd name="connsiteX1" fmla="*/ 106766 w 232547"/>
                <a:gd name="connsiteY1" fmla="*/ 0 h 240713"/>
                <a:gd name="connsiteX2" fmla="*/ 193889 w 232547"/>
                <a:gd name="connsiteY2" fmla="*/ 99058 h 240713"/>
                <a:gd name="connsiteX3" fmla="*/ 114658 w 232547"/>
                <a:gd name="connsiteY3" fmla="*/ 97512 h 240713"/>
                <a:gd name="connsiteX4" fmla="*/ 232547 w 232547"/>
                <a:gd name="connsiteY4" fmla="*/ 240713 h 240713"/>
                <a:gd name="connsiteX5" fmla="*/ 22090 w 232547"/>
                <a:gd name="connsiteY5" fmla="*/ 90403 h 240713"/>
                <a:gd name="connsiteX6" fmla="*/ 84106 w 232547"/>
                <a:gd name="connsiteY6" fmla="*/ 87045 h 240713"/>
                <a:gd name="connsiteX7" fmla="*/ 0 w 232547"/>
                <a:gd name="connsiteY7" fmla="*/ 0 h 240713"/>
                <a:gd name="connsiteX0" fmla="*/ 0 w 232547"/>
                <a:gd name="connsiteY0" fmla="*/ 0 h 240713"/>
                <a:gd name="connsiteX1" fmla="*/ 106766 w 232547"/>
                <a:gd name="connsiteY1" fmla="*/ 0 h 240713"/>
                <a:gd name="connsiteX2" fmla="*/ 193889 w 232547"/>
                <a:gd name="connsiteY2" fmla="*/ 99058 h 240713"/>
                <a:gd name="connsiteX3" fmla="*/ 128453 w 232547"/>
                <a:gd name="connsiteY3" fmla="*/ 97512 h 240713"/>
                <a:gd name="connsiteX4" fmla="*/ 232547 w 232547"/>
                <a:gd name="connsiteY4" fmla="*/ 240713 h 240713"/>
                <a:gd name="connsiteX5" fmla="*/ 22090 w 232547"/>
                <a:gd name="connsiteY5" fmla="*/ 90403 h 240713"/>
                <a:gd name="connsiteX6" fmla="*/ 84106 w 232547"/>
                <a:gd name="connsiteY6" fmla="*/ 87045 h 240713"/>
                <a:gd name="connsiteX7" fmla="*/ 0 w 232547"/>
                <a:gd name="connsiteY7" fmla="*/ 0 h 240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547" h="240713">
                  <a:moveTo>
                    <a:pt x="0" y="0"/>
                  </a:moveTo>
                  <a:lnTo>
                    <a:pt x="106766" y="0"/>
                  </a:lnTo>
                  <a:lnTo>
                    <a:pt x="193889" y="99058"/>
                  </a:lnTo>
                  <a:lnTo>
                    <a:pt x="128453" y="97512"/>
                  </a:lnTo>
                  <a:lnTo>
                    <a:pt x="232547" y="240713"/>
                  </a:lnTo>
                  <a:lnTo>
                    <a:pt x="22090" y="90403"/>
                  </a:lnTo>
                  <a:lnTo>
                    <a:pt x="84106" y="87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58" name="Oval 57"/>
          <p:cNvSpPr/>
          <p:nvPr/>
        </p:nvSpPr>
        <p:spPr>
          <a:xfrm>
            <a:off x="4979569" y="4864974"/>
            <a:ext cx="108615" cy="10861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5876014" y="5481127"/>
            <a:ext cx="1639335" cy="0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V="1">
            <a:off x="5829719" y="2729084"/>
            <a:ext cx="1756600" cy="2299841"/>
          </a:xfrm>
          <a:prstGeom prst="straightConnector1">
            <a:avLst/>
          </a:prstGeom>
          <a:ln w="38100" cmpd="sng">
            <a:solidFill>
              <a:schemeClr val="accent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565" y="2800338"/>
            <a:ext cx="1944721" cy="70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75335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738664"/>
          </a:xfrm>
        </p:spPr>
        <p:txBody>
          <a:bodyPr/>
          <a:lstStyle/>
          <a:p>
            <a:r>
              <a:rPr lang="en-US" dirty="0"/>
              <a:t>Talend Cloud Architecture</a:t>
            </a:r>
            <a:br>
              <a:rPr lang="en-US" dirty="0"/>
            </a:br>
            <a:r>
              <a:rPr lang="en-US" sz="2000" dirty="0"/>
              <a:t>Remote Engine on Private Cloud</a:t>
            </a:r>
            <a:endParaRPr lang="en-US" dirty="0">
              <a:latin typeface="Roboto (Headings)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02631" y="2165464"/>
            <a:ext cx="4642139" cy="2998901"/>
          </a:xfrm>
          <a:prstGeom prst="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  <a:prstDash val="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18746" y="1562306"/>
            <a:ext cx="2334415" cy="261610"/>
            <a:chOff x="9499622" y="1758589"/>
            <a:chExt cx="2334414" cy="261610"/>
          </a:xfrm>
        </p:grpSpPr>
        <p:cxnSp>
          <p:nvCxnSpPr>
            <p:cNvPr id="6" name="Straight Arrow Connector 5"/>
            <p:cNvCxnSpPr/>
            <p:nvPr/>
          </p:nvCxnSpPr>
          <p:spPr>
            <a:xfrm flipH="1">
              <a:off x="9499622" y="1902798"/>
              <a:ext cx="364540" cy="0"/>
            </a:xfrm>
            <a:prstGeom prst="straightConnector1">
              <a:avLst/>
            </a:prstGeom>
            <a:ln w="38100" cmpd="sng">
              <a:solidFill>
                <a:schemeClr val="accent6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6"/>
            <p:cNvSpPr/>
            <p:nvPr/>
          </p:nvSpPr>
          <p:spPr>
            <a:xfrm>
              <a:off x="9796658" y="1852662"/>
              <a:ext cx="108615" cy="1086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883725" y="1758589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91D1ED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Status &amp; Logs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91D1ED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sp>
        <p:nvSpPr>
          <p:cNvPr id="9" name="Rectangle 126"/>
          <p:cNvSpPr/>
          <p:nvPr/>
        </p:nvSpPr>
        <p:spPr>
          <a:xfrm>
            <a:off x="523393" y="1675679"/>
            <a:ext cx="5695835" cy="3094635"/>
          </a:xfrm>
          <a:custGeom>
            <a:avLst/>
            <a:gdLst/>
            <a:ahLst/>
            <a:cxnLst/>
            <a:rect l="l" t="t" r="r" b="b"/>
            <a:pathLst>
              <a:path w="5695835" h="3094635">
                <a:moveTo>
                  <a:pt x="3824625" y="0"/>
                </a:moveTo>
                <a:cubicBezTo>
                  <a:pt x="4225658" y="0"/>
                  <a:pt x="4550759" y="325101"/>
                  <a:pt x="4550759" y="726134"/>
                </a:cubicBezTo>
                <a:cubicBezTo>
                  <a:pt x="4550759" y="826392"/>
                  <a:pt x="4530440" y="921905"/>
                  <a:pt x="4493696" y="1008778"/>
                </a:cubicBezTo>
                <a:lnTo>
                  <a:pt x="4492674" y="1010662"/>
                </a:lnTo>
                <a:lnTo>
                  <a:pt x="4496451" y="1010281"/>
                </a:lnTo>
                <a:cubicBezTo>
                  <a:pt x="4714512" y="1010281"/>
                  <a:pt x="4891286" y="1187055"/>
                  <a:pt x="4891286" y="1405116"/>
                </a:cubicBezTo>
                <a:lnTo>
                  <a:pt x="4886473" y="1452864"/>
                </a:lnTo>
                <a:lnTo>
                  <a:pt x="4958612" y="1456507"/>
                </a:lnTo>
                <a:cubicBezTo>
                  <a:pt x="5372699" y="1498560"/>
                  <a:pt x="5695835" y="1848270"/>
                  <a:pt x="5695835" y="2273451"/>
                </a:cubicBezTo>
                <a:cubicBezTo>
                  <a:pt x="5695835" y="2698633"/>
                  <a:pt x="5372699" y="3048343"/>
                  <a:pt x="4958612" y="3090396"/>
                </a:cubicBezTo>
                <a:lnTo>
                  <a:pt x="4891286" y="3093795"/>
                </a:lnTo>
                <a:lnTo>
                  <a:pt x="4891286" y="3094635"/>
                </a:lnTo>
                <a:lnTo>
                  <a:pt x="4874651" y="3094635"/>
                </a:lnTo>
                <a:lnTo>
                  <a:pt x="821184" y="3094635"/>
                </a:lnTo>
                <a:lnTo>
                  <a:pt x="820260" y="3094635"/>
                </a:lnTo>
                <a:lnTo>
                  <a:pt x="820260" y="3094589"/>
                </a:lnTo>
                <a:lnTo>
                  <a:pt x="737223" y="3090396"/>
                </a:lnTo>
                <a:cubicBezTo>
                  <a:pt x="323136" y="3048343"/>
                  <a:pt x="0" y="2698633"/>
                  <a:pt x="0" y="2273451"/>
                </a:cubicBezTo>
                <a:cubicBezTo>
                  <a:pt x="0" y="1904960"/>
                  <a:pt x="242711" y="1593157"/>
                  <a:pt x="576989" y="1489186"/>
                </a:cubicBezTo>
                <a:lnTo>
                  <a:pt x="598150" y="1483745"/>
                </a:lnTo>
                <a:lnTo>
                  <a:pt x="593112" y="1467516"/>
                </a:lnTo>
                <a:cubicBezTo>
                  <a:pt x="586212" y="1433795"/>
                  <a:pt x="582588" y="1398880"/>
                  <a:pt x="582588" y="1363119"/>
                </a:cubicBezTo>
                <a:cubicBezTo>
                  <a:pt x="582588" y="1077031"/>
                  <a:pt x="814509" y="845110"/>
                  <a:pt x="1100597" y="845110"/>
                </a:cubicBezTo>
                <a:cubicBezTo>
                  <a:pt x="1136358" y="845110"/>
                  <a:pt x="1171273" y="848734"/>
                  <a:pt x="1204994" y="855634"/>
                </a:cubicBezTo>
                <a:lnTo>
                  <a:pt x="1249691" y="869509"/>
                </a:lnTo>
                <a:lnTo>
                  <a:pt x="1288325" y="798332"/>
                </a:lnTo>
                <a:cubicBezTo>
                  <a:pt x="1418817" y="605179"/>
                  <a:pt x="1639801" y="478186"/>
                  <a:pt x="1890447" y="478186"/>
                </a:cubicBezTo>
                <a:cubicBezTo>
                  <a:pt x="2040834" y="478186"/>
                  <a:pt x="2180544" y="523903"/>
                  <a:pt x="2296435" y="602198"/>
                </a:cubicBezTo>
                <a:lnTo>
                  <a:pt x="2324030" y="624966"/>
                </a:lnTo>
                <a:lnTo>
                  <a:pt x="2325086" y="624095"/>
                </a:lnTo>
                <a:cubicBezTo>
                  <a:pt x="2388102" y="581522"/>
                  <a:pt x="2464069" y="556663"/>
                  <a:pt x="2545842" y="556663"/>
                </a:cubicBezTo>
                <a:cubicBezTo>
                  <a:pt x="2573099" y="556663"/>
                  <a:pt x="2599712" y="559425"/>
                  <a:pt x="2625415" y="564685"/>
                </a:cubicBezTo>
                <a:lnTo>
                  <a:pt x="2641499" y="569677"/>
                </a:lnTo>
                <a:lnTo>
                  <a:pt x="2664318" y="496166"/>
                </a:lnTo>
                <a:cubicBezTo>
                  <a:pt x="2724257" y="354453"/>
                  <a:pt x="2864579" y="255018"/>
                  <a:pt x="3028125" y="255018"/>
                </a:cubicBezTo>
                <a:cubicBezTo>
                  <a:pt x="3082640" y="255018"/>
                  <a:pt x="3134575" y="266066"/>
                  <a:pt x="3181813" y="286046"/>
                </a:cubicBezTo>
                <a:lnTo>
                  <a:pt x="3229349" y="311848"/>
                </a:lnTo>
                <a:lnTo>
                  <a:pt x="3311171" y="212680"/>
                </a:lnTo>
                <a:cubicBezTo>
                  <a:pt x="3442575" y="81275"/>
                  <a:pt x="3624109" y="0"/>
                  <a:pt x="3824625" y="0"/>
                </a:cubicBezTo>
                <a:close/>
              </a:path>
            </a:pathLst>
          </a:custGeom>
          <a:solidFill>
            <a:srgbClr val="FFFFFF"/>
          </a:solidFill>
          <a:ln w="12700" cmpd="sng">
            <a:solidFill>
              <a:schemeClr val="bg2">
                <a:lumMod val="75000"/>
              </a:schemeClr>
            </a:solidFill>
          </a:ln>
          <a:effectLst>
            <a:glow rad="241300">
              <a:schemeClr val="accent5">
                <a:alpha val="13000"/>
              </a:schemeClr>
            </a:glow>
            <a:outerShdw blurRad="165100" sx="105000" sy="105000" algn="ctr" rotWithShape="0">
              <a:schemeClr val="bg2">
                <a:lumMod val="7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06683" y="5015674"/>
            <a:ext cx="11148407" cy="295493"/>
            <a:chOff x="506682" y="4498448"/>
            <a:chExt cx="11148407" cy="295493"/>
          </a:xfrm>
        </p:grpSpPr>
        <p:grpSp>
          <p:nvGrpSpPr>
            <p:cNvPr id="11" name="Group 10"/>
            <p:cNvGrpSpPr/>
            <p:nvPr/>
          </p:nvGrpSpPr>
          <p:grpSpPr>
            <a:xfrm>
              <a:off x="506682" y="4591345"/>
              <a:ext cx="11148407" cy="111586"/>
              <a:chOff x="506682" y="4566277"/>
              <a:chExt cx="11148407" cy="111586"/>
            </a:xfrm>
          </p:grpSpPr>
          <p:cxnSp>
            <p:nvCxnSpPr>
              <p:cNvPr id="18" name="Straight Connector 17"/>
              <p:cNvCxnSpPr>
                <a:endCxn id="20" idx="2"/>
              </p:cNvCxnSpPr>
              <p:nvPr/>
            </p:nvCxnSpPr>
            <p:spPr>
              <a:xfrm flipV="1">
                <a:off x="523392" y="4622070"/>
                <a:ext cx="11020111" cy="5813"/>
              </a:xfrm>
              <a:prstGeom prst="line">
                <a:avLst/>
              </a:prstGeom>
              <a:ln w="19050" cmpd="sng">
                <a:solidFill>
                  <a:srgbClr val="FF66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Oval 18"/>
              <p:cNvSpPr/>
              <p:nvPr/>
            </p:nvSpPr>
            <p:spPr>
              <a:xfrm>
                <a:off x="506682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11543503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802080" y="4498448"/>
              <a:ext cx="1670994" cy="295493"/>
              <a:chOff x="5714807" y="4473380"/>
              <a:chExt cx="1670994" cy="295493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9675066" y="4498448"/>
              <a:ext cx="1670994" cy="295493"/>
              <a:chOff x="5714807" y="4473380"/>
              <a:chExt cx="1670994" cy="295493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5714807" y="4473380"/>
                <a:ext cx="1670994" cy="295493"/>
              </a:xfrm>
              <a:prstGeom prst="roundRect">
                <a:avLst/>
              </a:prstGeom>
              <a:solidFill>
                <a:srgbClr val="FF66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978431" y="4507714"/>
                <a:ext cx="1170487" cy="2236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Firewall</a:t>
                </a:r>
              </a:p>
            </p:txBody>
          </p:sp>
        </p:grp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2866" y="5476078"/>
            <a:ext cx="962703" cy="1003670"/>
          </a:xfrm>
          <a:prstGeom prst="rect">
            <a:avLst/>
          </a:prstGeom>
        </p:spPr>
      </p:pic>
      <p:sp>
        <p:nvSpPr>
          <p:cNvPr id="24" name="Oval 23"/>
          <p:cNvSpPr/>
          <p:nvPr/>
        </p:nvSpPr>
        <p:spPr>
          <a:xfrm>
            <a:off x="7589307" y="3531738"/>
            <a:ext cx="835555" cy="835555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2F56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224766" y="4368055"/>
            <a:ext cx="15639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Remote Engin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9175972" y="2437153"/>
            <a:ext cx="835555" cy="835555"/>
            <a:chOff x="7719999" y="2220738"/>
            <a:chExt cx="835554" cy="835554"/>
          </a:xfrm>
        </p:grpSpPr>
        <p:sp>
          <p:nvSpPr>
            <p:cNvPr id="27" name="Oval 26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28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9175972" y="3523405"/>
            <a:ext cx="835555" cy="835555"/>
            <a:chOff x="7719999" y="2220738"/>
            <a:chExt cx="835554" cy="835554"/>
          </a:xfrm>
        </p:grpSpPr>
        <p:sp>
          <p:nvSpPr>
            <p:cNvPr id="30" name="Oval 29"/>
            <p:cNvSpPr/>
            <p:nvPr/>
          </p:nvSpPr>
          <p:spPr>
            <a:xfrm>
              <a:off x="7719999" y="2220738"/>
              <a:ext cx="835554" cy="835554"/>
            </a:xfrm>
            <a:prstGeom prst="ellipse">
              <a:avLst/>
            </a:prstGeom>
            <a:solidFill>
              <a:schemeClr val="tx1"/>
            </a:solidFill>
            <a:ln w="19050" cmpd="sng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1" name="Oval 1"/>
            <p:cNvSpPr/>
            <p:nvPr/>
          </p:nvSpPr>
          <p:spPr>
            <a:xfrm>
              <a:off x="7814225" y="2444476"/>
              <a:ext cx="647103" cy="336052"/>
            </a:xfrm>
            <a:custGeom>
              <a:avLst/>
              <a:gdLst/>
              <a:ahLst/>
              <a:cxnLst/>
              <a:rect l="l" t="t" r="r" b="b"/>
              <a:pathLst>
                <a:path w="6949438" h="3322767">
                  <a:moveTo>
                    <a:pt x="4626187" y="0"/>
                  </a:moveTo>
                  <a:cubicBezTo>
                    <a:pt x="5104172" y="0"/>
                    <a:pt x="5491655" y="387483"/>
                    <a:pt x="5491655" y="865468"/>
                  </a:cubicBezTo>
                  <a:cubicBezTo>
                    <a:pt x="5491655" y="955090"/>
                    <a:pt x="5478033" y="1041531"/>
                    <a:pt x="5452745" y="1122832"/>
                  </a:cubicBezTo>
                  <a:lnTo>
                    <a:pt x="5439949" y="1157795"/>
                  </a:lnTo>
                  <a:lnTo>
                    <a:pt x="5465068" y="1160327"/>
                  </a:lnTo>
                  <a:cubicBezTo>
                    <a:pt x="5673015" y="1202880"/>
                    <a:pt x="5836801" y="1366665"/>
                    <a:pt x="5879353" y="1574612"/>
                  </a:cubicBezTo>
                  <a:lnTo>
                    <a:pt x="5883535" y="1616097"/>
                  </a:lnTo>
                  <a:lnTo>
                    <a:pt x="5909548" y="1609408"/>
                  </a:lnTo>
                  <a:cubicBezTo>
                    <a:pt x="5965888" y="1597880"/>
                    <a:pt x="6024222" y="1591825"/>
                    <a:pt x="6083970" y="1591825"/>
                  </a:cubicBezTo>
                  <a:cubicBezTo>
                    <a:pt x="6561955" y="1591825"/>
                    <a:pt x="6949438" y="1979308"/>
                    <a:pt x="6949438" y="2457293"/>
                  </a:cubicBezTo>
                  <a:cubicBezTo>
                    <a:pt x="6949438" y="2905404"/>
                    <a:pt x="6608877" y="3273972"/>
                    <a:pt x="6172459" y="3318293"/>
                  </a:cubicBezTo>
                  <a:lnTo>
                    <a:pt x="6103794" y="3321760"/>
                  </a:lnTo>
                  <a:lnTo>
                    <a:pt x="6103794" y="3322767"/>
                  </a:lnTo>
                  <a:lnTo>
                    <a:pt x="866346" y="3322767"/>
                  </a:lnTo>
                  <a:lnTo>
                    <a:pt x="866346" y="3322717"/>
                  </a:lnTo>
                  <a:lnTo>
                    <a:pt x="865468" y="3322761"/>
                  </a:lnTo>
                  <a:cubicBezTo>
                    <a:pt x="387483" y="3322761"/>
                    <a:pt x="0" y="2935278"/>
                    <a:pt x="0" y="2457293"/>
                  </a:cubicBezTo>
                  <a:cubicBezTo>
                    <a:pt x="0" y="1979308"/>
                    <a:pt x="387483" y="1591825"/>
                    <a:pt x="865468" y="1591825"/>
                  </a:cubicBezTo>
                  <a:cubicBezTo>
                    <a:pt x="955090" y="1591825"/>
                    <a:pt x="1041531" y="1605448"/>
                    <a:pt x="1122832" y="1630735"/>
                  </a:cubicBezTo>
                  <a:lnTo>
                    <a:pt x="1126487" y="1632073"/>
                  </a:lnTo>
                  <a:lnTo>
                    <a:pt x="1135427" y="1615601"/>
                  </a:lnTo>
                  <a:cubicBezTo>
                    <a:pt x="1192833" y="1530630"/>
                    <a:pt x="1274124" y="1463122"/>
                    <a:pt x="1369667" y="1422710"/>
                  </a:cubicBezTo>
                  <a:lnTo>
                    <a:pt x="1428881" y="1404329"/>
                  </a:lnTo>
                  <a:lnTo>
                    <a:pt x="1432719" y="1328320"/>
                  </a:lnTo>
                  <a:cubicBezTo>
                    <a:pt x="1477040" y="891902"/>
                    <a:pt x="1845608" y="551341"/>
                    <a:pt x="2293719" y="551341"/>
                  </a:cubicBezTo>
                  <a:cubicBezTo>
                    <a:pt x="2472964" y="551341"/>
                    <a:pt x="2639481" y="605831"/>
                    <a:pt x="2777611" y="699149"/>
                  </a:cubicBezTo>
                  <a:lnTo>
                    <a:pt x="2793780" y="712490"/>
                  </a:lnTo>
                  <a:lnTo>
                    <a:pt x="2837812" y="676160"/>
                  </a:lnTo>
                  <a:cubicBezTo>
                    <a:pt x="2906085" y="630036"/>
                    <a:pt x="2988390" y="603103"/>
                    <a:pt x="3076985" y="603103"/>
                  </a:cubicBezTo>
                  <a:cubicBezTo>
                    <a:pt x="3136049" y="603103"/>
                    <a:pt x="3192316" y="615073"/>
                    <a:pt x="3243495" y="636720"/>
                  </a:cubicBezTo>
                  <a:lnTo>
                    <a:pt x="3247211" y="638737"/>
                  </a:lnTo>
                  <a:lnTo>
                    <a:pt x="3291445" y="557242"/>
                  </a:lnTo>
                  <a:cubicBezTo>
                    <a:pt x="3387120" y="415623"/>
                    <a:pt x="3549145" y="322513"/>
                    <a:pt x="3732917" y="322513"/>
                  </a:cubicBezTo>
                  <a:cubicBezTo>
                    <a:pt x="3769672" y="322513"/>
                    <a:pt x="3805556" y="326237"/>
                    <a:pt x="3840214" y="333329"/>
                  </a:cubicBezTo>
                  <a:lnTo>
                    <a:pt x="3926290" y="360049"/>
                  </a:lnTo>
                  <a:lnTo>
                    <a:pt x="4014209" y="253490"/>
                  </a:lnTo>
                  <a:cubicBezTo>
                    <a:pt x="4170828" y="96871"/>
                    <a:pt x="4387195" y="0"/>
                    <a:pt x="4626187" y="0"/>
                  </a:cubicBez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  <a:effectLst>
              <a:glow rad="241300">
                <a:schemeClr val="accent2">
                  <a:satMod val="175000"/>
                  <a:alpha val="1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6D7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10070011" y="2686944"/>
            <a:ext cx="1184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Cloud File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70011" y="3780568"/>
            <a:ext cx="1276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+mn-cs"/>
              </a:rPr>
              <a:t>Cloud DWH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 flipH="1">
            <a:off x="4642137" y="3946135"/>
            <a:ext cx="2947171" cy="0"/>
          </a:xfrm>
          <a:prstGeom prst="straightConnector1">
            <a:avLst/>
          </a:prstGeom>
          <a:ln w="38100" cmpd="sng">
            <a:solidFill>
              <a:schemeClr val="accent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7535001" y="3895513"/>
            <a:ext cx="108615" cy="10861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7328578" y="1561046"/>
            <a:ext cx="2334415" cy="261610"/>
            <a:chOff x="9499622" y="1471224"/>
            <a:chExt cx="2334414" cy="261610"/>
          </a:xfrm>
        </p:grpSpPr>
        <p:cxnSp>
          <p:nvCxnSpPr>
            <p:cNvPr id="37" name="Straight Arrow Connector 36"/>
            <p:cNvCxnSpPr/>
            <p:nvPr/>
          </p:nvCxnSpPr>
          <p:spPr>
            <a:xfrm flipH="1">
              <a:off x="9499622" y="1615433"/>
              <a:ext cx="364540" cy="0"/>
            </a:xfrm>
            <a:prstGeom prst="straightConnector1">
              <a:avLst/>
            </a:prstGeom>
            <a:ln w="38100" cmpd="sng">
              <a:solidFill>
                <a:schemeClr val="accent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l 37"/>
            <p:cNvSpPr/>
            <p:nvPr/>
          </p:nvSpPr>
          <p:spPr>
            <a:xfrm>
              <a:off x="9796658" y="1565297"/>
              <a:ext cx="108615" cy="1086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9883725" y="1471224"/>
              <a:ext cx="1950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C1F56">
                      <a:lumMod val="75000"/>
                    </a:srgbClr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Customer data in transit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2C1F56">
                    <a:lumMod val="75000"/>
                  </a:srgbClr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cxnSp>
        <p:nvCxnSpPr>
          <p:cNvPr id="40" name="Straight Arrow Connector 39"/>
          <p:cNvCxnSpPr/>
          <p:nvPr/>
        </p:nvCxnSpPr>
        <p:spPr>
          <a:xfrm>
            <a:off x="8459497" y="3946135"/>
            <a:ext cx="683057" cy="0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8326711" y="2923688"/>
            <a:ext cx="824197" cy="699588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2995259" y="4393361"/>
            <a:ext cx="0" cy="1082715"/>
          </a:xfrm>
          <a:prstGeom prst="straightConnector1">
            <a:avLst/>
          </a:prstGeom>
          <a:ln w="38100" cmpd="sng">
            <a:solidFill>
              <a:srgbClr val="4ABDE5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9499622" y="1570656"/>
            <a:ext cx="2334415" cy="244682"/>
            <a:chOff x="9499622" y="1178773"/>
            <a:chExt cx="2334414" cy="244682"/>
          </a:xfrm>
        </p:grpSpPr>
        <p:cxnSp>
          <p:nvCxnSpPr>
            <p:cNvPr id="44" name="Straight Arrow Connector 43"/>
            <p:cNvCxnSpPr/>
            <p:nvPr/>
          </p:nvCxnSpPr>
          <p:spPr>
            <a:xfrm flipH="1">
              <a:off x="9499622" y="1314626"/>
              <a:ext cx="364540" cy="0"/>
            </a:xfrm>
            <a:prstGeom prst="straightConnector1">
              <a:avLst/>
            </a:prstGeom>
            <a:ln w="38100" cmpd="sng">
              <a:solidFill>
                <a:srgbClr val="4ABDE5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/>
            <p:cNvSpPr/>
            <p:nvPr/>
          </p:nvSpPr>
          <p:spPr>
            <a:xfrm>
              <a:off x="9796658" y="1264490"/>
              <a:ext cx="108615" cy="108615"/>
            </a:xfrm>
            <a:prstGeom prst="ellipse">
              <a:avLst/>
            </a:prstGeom>
            <a:solidFill>
              <a:srgbClr val="4ABDE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9883725" y="1178773"/>
              <a:ext cx="1950311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4ABDE5"/>
                  </a:solidFill>
                  <a:effectLst/>
                  <a:uLnTx/>
                  <a:uFillTx/>
                  <a:latin typeface="Roboto"/>
                  <a:ea typeface="ＭＳ Ｐゴシック" charset="0"/>
                  <a:cs typeface="Calibri"/>
                </a:rPr>
                <a:t>Metadata in transit (HTTPS)</a:t>
              </a: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4ABDE5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589307" y="3435809"/>
            <a:ext cx="275764" cy="275764"/>
            <a:chOff x="4979567" y="3043922"/>
            <a:chExt cx="275764" cy="275764"/>
          </a:xfrm>
        </p:grpSpPr>
        <p:sp>
          <p:nvSpPr>
            <p:cNvPr id="48" name="Oval 47"/>
            <p:cNvSpPr/>
            <p:nvPr/>
          </p:nvSpPr>
          <p:spPr>
            <a:xfrm>
              <a:off x="4979567" y="3043922"/>
              <a:ext cx="275764" cy="2757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5065627" y="3096404"/>
              <a:ext cx="105052" cy="163787"/>
              <a:chOff x="10890554" y="2242548"/>
              <a:chExt cx="648384" cy="1010893"/>
            </a:xfrm>
          </p:grpSpPr>
          <p:sp>
            <p:nvSpPr>
              <p:cNvPr id="50" name="Rectangle 177"/>
              <p:cNvSpPr/>
              <p:nvPr/>
            </p:nvSpPr>
            <p:spPr>
              <a:xfrm>
                <a:off x="10890554" y="2242548"/>
                <a:ext cx="648384" cy="1010893"/>
              </a:xfrm>
              <a:custGeom>
                <a:avLst/>
                <a:gdLst/>
                <a:ahLst/>
                <a:cxnLst/>
                <a:rect l="l" t="t" r="r" b="b"/>
                <a:pathLst>
                  <a:path w="648384" h="1010893">
                    <a:moveTo>
                      <a:pt x="324192" y="121633"/>
                    </a:moveTo>
                    <a:cubicBezTo>
                      <a:pt x="273809" y="121633"/>
                      <a:pt x="230582" y="152265"/>
                      <a:pt x="212117" y="195921"/>
                    </a:cubicBezTo>
                    <a:lnTo>
                      <a:pt x="204439" y="233952"/>
                    </a:lnTo>
                    <a:lnTo>
                      <a:pt x="204585" y="233952"/>
                    </a:lnTo>
                    <a:lnTo>
                      <a:pt x="204585" y="362509"/>
                    </a:lnTo>
                    <a:lnTo>
                      <a:pt x="443799" y="362509"/>
                    </a:lnTo>
                    <a:lnTo>
                      <a:pt x="443799" y="233952"/>
                    </a:lnTo>
                    <a:lnTo>
                      <a:pt x="443945" y="233952"/>
                    </a:lnTo>
                    <a:lnTo>
                      <a:pt x="436267" y="195921"/>
                    </a:lnTo>
                    <a:cubicBezTo>
                      <a:pt x="417802" y="152265"/>
                      <a:pt x="374575" y="121633"/>
                      <a:pt x="324192" y="121633"/>
                    </a:cubicBezTo>
                    <a:close/>
                    <a:moveTo>
                      <a:pt x="324192" y="0"/>
                    </a:moveTo>
                    <a:cubicBezTo>
                      <a:pt x="441751" y="0"/>
                      <a:pt x="539833" y="83387"/>
                      <a:pt x="562517" y="194240"/>
                    </a:cubicBezTo>
                    <a:lnTo>
                      <a:pt x="566520" y="233952"/>
                    </a:lnTo>
                    <a:lnTo>
                      <a:pt x="567459" y="233952"/>
                    </a:lnTo>
                    <a:lnTo>
                      <a:pt x="567459" y="243267"/>
                    </a:lnTo>
                    <a:lnTo>
                      <a:pt x="567459" y="367989"/>
                    </a:lnTo>
                    <a:lnTo>
                      <a:pt x="582382" y="371002"/>
                    </a:lnTo>
                    <a:cubicBezTo>
                      <a:pt x="621169" y="387407"/>
                      <a:pt x="648384" y="425813"/>
                      <a:pt x="648384" y="470575"/>
                    </a:cubicBezTo>
                    <a:lnTo>
                      <a:pt x="648384" y="902827"/>
                    </a:lnTo>
                    <a:cubicBezTo>
                      <a:pt x="648384" y="962510"/>
                      <a:pt x="600001" y="1010893"/>
                      <a:pt x="540318" y="1010893"/>
                    </a:cubicBezTo>
                    <a:lnTo>
                      <a:pt x="108066" y="1010893"/>
                    </a:lnTo>
                    <a:cubicBezTo>
                      <a:pt x="48383" y="1010893"/>
                      <a:pt x="0" y="962510"/>
                      <a:pt x="0" y="902827"/>
                    </a:cubicBezTo>
                    <a:lnTo>
                      <a:pt x="0" y="470575"/>
                    </a:lnTo>
                    <a:cubicBezTo>
                      <a:pt x="0" y="425813"/>
                      <a:pt x="27215" y="387407"/>
                      <a:pt x="66002" y="371002"/>
                    </a:cubicBezTo>
                    <a:lnTo>
                      <a:pt x="80925" y="367989"/>
                    </a:lnTo>
                    <a:lnTo>
                      <a:pt x="80925" y="243267"/>
                    </a:lnTo>
                    <a:lnTo>
                      <a:pt x="80925" y="233952"/>
                    </a:lnTo>
                    <a:lnTo>
                      <a:pt x="81864" y="233952"/>
                    </a:lnTo>
                    <a:lnTo>
                      <a:pt x="85867" y="194240"/>
                    </a:lnTo>
                    <a:cubicBezTo>
                      <a:pt x="108551" y="83387"/>
                      <a:pt x="206633" y="0"/>
                      <a:pt x="3241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1" name="Oval 178"/>
              <p:cNvSpPr/>
              <p:nvPr/>
            </p:nvSpPr>
            <p:spPr>
              <a:xfrm>
                <a:off x="11119496" y="2736886"/>
                <a:ext cx="190500" cy="338788"/>
              </a:xfrm>
              <a:custGeom>
                <a:avLst/>
                <a:gdLst/>
                <a:ahLst/>
                <a:cxnLst/>
                <a:rect l="l" t="t" r="r" b="b"/>
                <a:pathLst>
                  <a:path w="190500" h="338788">
                    <a:moveTo>
                      <a:pt x="95250" y="0"/>
                    </a:moveTo>
                    <a:cubicBezTo>
                      <a:pt x="147855" y="0"/>
                      <a:pt x="190500" y="42645"/>
                      <a:pt x="190500" y="95250"/>
                    </a:cubicBezTo>
                    <a:cubicBezTo>
                      <a:pt x="190500" y="121553"/>
                      <a:pt x="179839" y="145365"/>
                      <a:pt x="162602" y="162602"/>
                    </a:cubicBezTo>
                    <a:lnTo>
                      <a:pt x="138923" y="178567"/>
                    </a:lnTo>
                    <a:lnTo>
                      <a:pt x="165704" y="338788"/>
                    </a:lnTo>
                    <a:lnTo>
                      <a:pt x="24797" y="338788"/>
                    </a:lnTo>
                    <a:lnTo>
                      <a:pt x="51578" y="178568"/>
                    </a:lnTo>
                    <a:lnTo>
                      <a:pt x="27898" y="162602"/>
                    </a:lnTo>
                    <a:cubicBezTo>
                      <a:pt x="10661" y="145365"/>
                      <a:pt x="0" y="121553"/>
                      <a:pt x="0" y="95250"/>
                    </a:cubicBezTo>
                    <a:cubicBezTo>
                      <a:pt x="0" y="42645"/>
                      <a:pt x="42645" y="0"/>
                      <a:pt x="9525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sp>
        <p:nvSpPr>
          <p:cNvPr id="52" name="Rectangle 190"/>
          <p:cNvSpPr/>
          <p:nvPr/>
        </p:nvSpPr>
        <p:spPr>
          <a:xfrm>
            <a:off x="7684827" y="3722153"/>
            <a:ext cx="641884" cy="451632"/>
          </a:xfrm>
          <a:custGeom>
            <a:avLst/>
            <a:gdLst/>
            <a:ahLst/>
            <a:cxnLst/>
            <a:rect l="l" t="t" r="r" b="b"/>
            <a:pathLst>
              <a:path w="827268" h="582069">
                <a:moveTo>
                  <a:pt x="299833" y="0"/>
                </a:moveTo>
                <a:lnTo>
                  <a:pt x="610201" y="0"/>
                </a:lnTo>
                <a:lnTo>
                  <a:pt x="610201" y="74271"/>
                </a:lnTo>
                <a:lnTo>
                  <a:pt x="503254" y="74271"/>
                </a:lnTo>
                <a:lnTo>
                  <a:pt x="503254" y="112329"/>
                </a:lnTo>
                <a:lnTo>
                  <a:pt x="712152" y="112329"/>
                </a:lnTo>
                <a:lnTo>
                  <a:pt x="712152" y="263659"/>
                </a:lnTo>
                <a:lnTo>
                  <a:pt x="712152" y="305409"/>
                </a:lnTo>
                <a:lnTo>
                  <a:pt x="757531" y="305409"/>
                </a:lnTo>
                <a:lnTo>
                  <a:pt x="757531" y="212570"/>
                </a:lnTo>
                <a:lnTo>
                  <a:pt x="827268" y="212570"/>
                </a:lnTo>
                <a:lnTo>
                  <a:pt x="827268" y="479945"/>
                </a:lnTo>
                <a:lnTo>
                  <a:pt x="757531" y="479945"/>
                </a:lnTo>
                <a:lnTo>
                  <a:pt x="757531" y="390821"/>
                </a:lnTo>
                <a:lnTo>
                  <a:pt x="712152" y="390821"/>
                </a:lnTo>
                <a:lnTo>
                  <a:pt x="712152" y="435382"/>
                </a:lnTo>
                <a:lnTo>
                  <a:pt x="712152" y="439096"/>
                </a:lnTo>
                <a:lnTo>
                  <a:pt x="708882" y="439096"/>
                </a:lnTo>
                <a:lnTo>
                  <a:pt x="583001" y="582069"/>
                </a:lnTo>
                <a:lnTo>
                  <a:pt x="291266" y="582069"/>
                </a:lnTo>
                <a:lnTo>
                  <a:pt x="184853" y="478265"/>
                </a:lnTo>
                <a:lnTo>
                  <a:pt x="184853" y="479945"/>
                </a:lnTo>
                <a:lnTo>
                  <a:pt x="115116" y="479945"/>
                </a:lnTo>
                <a:lnTo>
                  <a:pt x="115116" y="390821"/>
                </a:lnTo>
                <a:lnTo>
                  <a:pt x="69737" y="390821"/>
                </a:lnTo>
                <a:lnTo>
                  <a:pt x="69737" y="479945"/>
                </a:lnTo>
                <a:lnTo>
                  <a:pt x="0" y="479945"/>
                </a:lnTo>
                <a:lnTo>
                  <a:pt x="0" y="212570"/>
                </a:lnTo>
                <a:lnTo>
                  <a:pt x="69737" y="212570"/>
                </a:lnTo>
                <a:lnTo>
                  <a:pt x="69737" y="305409"/>
                </a:lnTo>
                <a:lnTo>
                  <a:pt x="115116" y="305409"/>
                </a:lnTo>
                <a:lnTo>
                  <a:pt x="115116" y="212570"/>
                </a:lnTo>
                <a:lnTo>
                  <a:pt x="184853" y="212570"/>
                </a:lnTo>
                <a:lnTo>
                  <a:pt x="184853" y="215197"/>
                </a:lnTo>
                <a:lnTo>
                  <a:pt x="299250" y="114374"/>
                </a:lnTo>
                <a:lnTo>
                  <a:pt x="299833" y="114374"/>
                </a:lnTo>
                <a:lnTo>
                  <a:pt x="299833" y="112329"/>
                </a:lnTo>
                <a:lnTo>
                  <a:pt x="417842" y="112329"/>
                </a:lnTo>
                <a:lnTo>
                  <a:pt x="417842" y="74271"/>
                </a:lnTo>
                <a:lnTo>
                  <a:pt x="299833" y="74271"/>
                </a:lnTo>
                <a:close/>
              </a:path>
            </a:pathLst>
          </a:custGeom>
          <a:solidFill>
            <a:srgbClr val="2F56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Rectangle 200"/>
          <p:cNvSpPr/>
          <p:nvPr/>
        </p:nvSpPr>
        <p:spPr>
          <a:xfrm flipH="1">
            <a:off x="7927691" y="3895514"/>
            <a:ext cx="189623" cy="196281"/>
          </a:xfrm>
          <a:custGeom>
            <a:avLst/>
            <a:gdLst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66299 w 201508"/>
              <a:gd name="connsiteY2" fmla="*/ 92160 h 244162"/>
              <a:gd name="connsiteX3" fmla="*/ 131902 w 201508"/>
              <a:gd name="connsiteY3" fmla="*/ 90614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66299 w 201508"/>
              <a:gd name="connsiteY2" fmla="*/ 92160 h 244162"/>
              <a:gd name="connsiteX3" fmla="*/ 114658 w 201508"/>
              <a:gd name="connsiteY3" fmla="*/ 97512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01508"/>
              <a:gd name="connsiteY0" fmla="*/ 0 h 244162"/>
              <a:gd name="connsiteX1" fmla="*/ 106766 w 201508"/>
              <a:gd name="connsiteY1" fmla="*/ 0 h 244162"/>
              <a:gd name="connsiteX2" fmla="*/ 193889 w 201508"/>
              <a:gd name="connsiteY2" fmla="*/ 99058 h 244162"/>
              <a:gd name="connsiteX3" fmla="*/ 114658 w 201508"/>
              <a:gd name="connsiteY3" fmla="*/ 97512 h 244162"/>
              <a:gd name="connsiteX4" fmla="*/ 201508 w 201508"/>
              <a:gd name="connsiteY4" fmla="*/ 244162 h 244162"/>
              <a:gd name="connsiteX5" fmla="*/ 22090 w 201508"/>
              <a:gd name="connsiteY5" fmla="*/ 90403 h 244162"/>
              <a:gd name="connsiteX6" fmla="*/ 84106 w 201508"/>
              <a:gd name="connsiteY6" fmla="*/ 87045 h 244162"/>
              <a:gd name="connsiteX7" fmla="*/ 0 w 201508"/>
              <a:gd name="connsiteY7" fmla="*/ 0 h 244162"/>
              <a:gd name="connsiteX0" fmla="*/ 0 w 232547"/>
              <a:gd name="connsiteY0" fmla="*/ 0 h 240713"/>
              <a:gd name="connsiteX1" fmla="*/ 106766 w 232547"/>
              <a:gd name="connsiteY1" fmla="*/ 0 h 240713"/>
              <a:gd name="connsiteX2" fmla="*/ 193889 w 232547"/>
              <a:gd name="connsiteY2" fmla="*/ 99058 h 240713"/>
              <a:gd name="connsiteX3" fmla="*/ 114658 w 232547"/>
              <a:gd name="connsiteY3" fmla="*/ 97512 h 240713"/>
              <a:gd name="connsiteX4" fmla="*/ 232547 w 232547"/>
              <a:gd name="connsiteY4" fmla="*/ 240713 h 240713"/>
              <a:gd name="connsiteX5" fmla="*/ 22090 w 232547"/>
              <a:gd name="connsiteY5" fmla="*/ 90403 h 240713"/>
              <a:gd name="connsiteX6" fmla="*/ 84106 w 232547"/>
              <a:gd name="connsiteY6" fmla="*/ 87045 h 240713"/>
              <a:gd name="connsiteX7" fmla="*/ 0 w 232547"/>
              <a:gd name="connsiteY7" fmla="*/ 0 h 240713"/>
              <a:gd name="connsiteX0" fmla="*/ 0 w 232547"/>
              <a:gd name="connsiteY0" fmla="*/ 0 h 240713"/>
              <a:gd name="connsiteX1" fmla="*/ 106766 w 232547"/>
              <a:gd name="connsiteY1" fmla="*/ 0 h 240713"/>
              <a:gd name="connsiteX2" fmla="*/ 193889 w 232547"/>
              <a:gd name="connsiteY2" fmla="*/ 99058 h 240713"/>
              <a:gd name="connsiteX3" fmla="*/ 128453 w 232547"/>
              <a:gd name="connsiteY3" fmla="*/ 97512 h 240713"/>
              <a:gd name="connsiteX4" fmla="*/ 232547 w 232547"/>
              <a:gd name="connsiteY4" fmla="*/ 240713 h 240713"/>
              <a:gd name="connsiteX5" fmla="*/ 22090 w 232547"/>
              <a:gd name="connsiteY5" fmla="*/ 90403 h 240713"/>
              <a:gd name="connsiteX6" fmla="*/ 84106 w 232547"/>
              <a:gd name="connsiteY6" fmla="*/ 87045 h 240713"/>
              <a:gd name="connsiteX7" fmla="*/ 0 w 232547"/>
              <a:gd name="connsiteY7" fmla="*/ 0 h 240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2547" h="240713">
                <a:moveTo>
                  <a:pt x="0" y="0"/>
                </a:moveTo>
                <a:lnTo>
                  <a:pt x="106766" y="0"/>
                </a:lnTo>
                <a:lnTo>
                  <a:pt x="193889" y="99058"/>
                </a:lnTo>
                <a:lnTo>
                  <a:pt x="128453" y="97512"/>
                </a:lnTo>
                <a:lnTo>
                  <a:pt x="232547" y="240713"/>
                </a:lnTo>
                <a:lnTo>
                  <a:pt x="22090" y="90403"/>
                </a:lnTo>
                <a:lnTo>
                  <a:pt x="84106" y="870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8F3E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926259" y="6267919"/>
            <a:ext cx="3241767" cy="236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-premises Apps &amp; Databases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586319" y="5499256"/>
            <a:ext cx="1946711" cy="735239"/>
            <a:chOff x="7653159" y="5107369"/>
            <a:chExt cx="1946710" cy="735239"/>
          </a:xfrm>
        </p:grpSpPr>
        <p:sp>
          <p:nvSpPr>
            <p:cNvPr id="56" name="Oval 78"/>
            <p:cNvSpPr/>
            <p:nvPr/>
          </p:nvSpPr>
          <p:spPr>
            <a:xfrm>
              <a:off x="7653159" y="5107369"/>
              <a:ext cx="1946710" cy="735239"/>
            </a:xfrm>
            <a:custGeom>
              <a:avLst/>
              <a:gdLst/>
              <a:ahLst/>
              <a:cxnLst/>
              <a:rect l="l" t="t" r="r" b="b"/>
              <a:pathLst>
                <a:path w="1946710" h="735239">
                  <a:moveTo>
                    <a:pt x="367619" y="0"/>
                  </a:moveTo>
                  <a:lnTo>
                    <a:pt x="367629" y="1"/>
                  </a:lnTo>
                  <a:lnTo>
                    <a:pt x="1579081" y="1"/>
                  </a:lnTo>
                  <a:lnTo>
                    <a:pt x="1579091" y="0"/>
                  </a:lnTo>
                  <a:cubicBezTo>
                    <a:pt x="1782121" y="0"/>
                    <a:pt x="1946710" y="164589"/>
                    <a:pt x="1946710" y="367619"/>
                  </a:cubicBezTo>
                  <a:cubicBezTo>
                    <a:pt x="1946710" y="570649"/>
                    <a:pt x="1782121" y="735238"/>
                    <a:pt x="1579091" y="735238"/>
                  </a:cubicBezTo>
                  <a:lnTo>
                    <a:pt x="1579090" y="735238"/>
                  </a:lnTo>
                  <a:lnTo>
                    <a:pt x="1579090" y="735239"/>
                  </a:lnTo>
                  <a:lnTo>
                    <a:pt x="359264" y="735239"/>
                  </a:lnTo>
                  <a:lnTo>
                    <a:pt x="359264" y="734396"/>
                  </a:lnTo>
                  <a:lnTo>
                    <a:pt x="293531" y="727770"/>
                  </a:lnTo>
                  <a:cubicBezTo>
                    <a:pt x="126013" y="693490"/>
                    <a:pt x="0" y="545270"/>
                    <a:pt x="0" y="367619"/>
                  </a:cubicBezTo>
                  <a:cubicBezTo>
                    <a:pt x="0" y="189968"/>
                    <a:pt x="126013" y="41748"/>
                    <a:pt x="293531" y="7469"/>
                  </a:cubicBezTo>
                  <a:lnTo>
                    <a:pt x="359264" y="843"/>
                  </a:lnTo>
                  <a:lnTo>
                    <a:pt x="359264" y="1"/>
                  </a:lnTo>
                  <a:lnTo>
                    <a:pt x="367609" y="1"/>
                  </a:lnTo>
                  <a:close/>
                </a:path>
              </a:pathLst>
            </a:custGeom>
            <a:noFill/>
            <a:ln w="1905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pic>
          <p:nvPicPr>
            <p:cNvPr id="57" name="Picture 56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3602" y="5239068"/>
              <a:ext cx="413979" cy="465844"/>
            </a:xfrm>
            <a:prstGeom prst="rect">
              <a:avLst/>
            </a:prstGeom>
          </p:spPr>
        </p:pic>
        <p:pic>
          <p:nvPicPr>
            <p:cNvPr id="58" name="Picture 57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4143" y="5239068"/>
              <a:ext cx="413979" cy="465844"/>
            </a:xfrm>
            <a:prstGeom prst="rect">
              <a:avLst/>
            </a:prstGeom>
          </p:spPr>
        </p:pic>
        <p:pic>
          <p:nvPicPr>
            <p:cNvPr id="59" name="Picture 58" descr="0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44684" y="5239068"/>
              <a:ext cx="413979" cy="465844"/>
            </a:xfrm>
            <a:prstGeom prst="rect">
              <a:avLst/>
            </a:prstGeom>
          </p:spPr>
        </p:pic>
      </p:grpSp>
      <p:cxnSp>
        <p:nvCxnSpPr>
          <p:cNvPr id="60" name="Straight Arrow Connector 59"/>
          <p:cNvCxnSpPr/>
          <p:nvPr/>
        </p:nvCxnSpPr>
        <p:spPr>
          <a:xfrm flipV="1">
            <a:off x="8007937" y="4656126"/>
            <a:ext cx="0" cy="805353"/>
          </a:xfrm>
          <a:prstGeom prst="straightConnector1">
            <a:avLst/>
          </a:prstGeom>
          <a:ln w="38100" cmpd="sng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7082989" y="2017717"/>
            <a:ext cx="2713671" cy="295493"/>
            <a:chOff x="5714807" y="4473380"/>
            <a:chExt cx="1670994" cy="295493"/>
          </a:xfrm>
        </p:grpSpPr>
        <p:sp>
          <p:nvSpPr>
            <p:cNvPr id="62" name="Rounded Rectangle 61"/>
            <p:cNvSpPr/>
            <p:nvPr/>
          </p:nvSpPr>
          <p:spPr>
            <a:xfrm>
              <a:off x="5714807" y="4473380"/>
              <a:ext cx="1670994" cy="295493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5978431" y="4507714"/>
              <a:ext cx="1170487" cy="2236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Private Network/VPC</a:t>
              </a:r>
            </a:p>
          </p:txBody>
        </p:sp>
      </p:grpSp>
      <p:pic>
        <p:nvPicPr>
          <p:cNvPr id="64" name="Picture 6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704" y="3249377"/>
            <a:ext cx="1944721" cy="700099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291027" y="6287620"/>
            <a:ext cx="1431007" cy="215444"/>
          </a:xfrm>
          <a:prstGeom prst="rect">
            <a:avLst/>
          </a:prstGeom>
          <a:solidFill>
            <a:srgbClr val="FDFDFD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"/>
                <a:ea typeface="ＭＳ Ｐゴシック" charset="0"/>
                <a:cs typeface="Calibri"/>
              </a:rPr>
              <a:t>Talend Studio</a:t>
            </a:r>
          </a:p>
        </p:txBody>
      </p:sp>
    </p:spTree>
    <p:extLst>
      <p:ext uri="{BB962C8B-B14F-4D97-AF65-F5344CB8AC3E}">
        <p14:creationId xmlns:p14="http://schemas.microsoft.com/office/powerpoint/2010/main" val="1793660298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369332"/>
          </a:xfrm>
        </p:spPr>
        <p:txBody>
          <a:bodyPr/>
          <a:lstStyle/>
          <a:p>
            <a:r>
              <a:rPr lang="en-US" sz="2400" dirty="0"/>
              <a:t>Talend Cloud (Remote Engine) VS Talend On-Prem</a:t>
            </a:r>
            <a:endParaRPr lang="en-US" sz="2400" dirty="0">
              <a:latin typeface="Roboto (Headings)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619472-331E-4BDC-8E2F-07F240914F3F}"/>
              </a:ext>
            </a:extLst>
          </p:cNvPr>
          <p:cNvSpPr/>
          <p:nvPr/>
        </p:nvSpPr>
        <p:spPr>
          <a:xfrm>
            <a:off x="1417174" y="1373890"/>
            <a:ext cx="2088625" cy="6931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User Management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Job Scheduling &amp; Monitoring</a:t>
            </a:r>
          </a:p>
        </p:txBody>
      </p:sp>
      <p:sp>
        <p:nvSpPr>
          <p:cNvPr id="6" name="Arrow: Chevron 138">
            <a:extLst>
              <a:ext uri="{FF2B5EF4-FFF2-40B4-BE49-F238E27FC236}">
                <a16:creationId xmlns:a16="http://schemas.microsoft.com/office/drawing/2014/main" id="{0127CE9B-9B9F-437F-B86B-A72F8D3403DA}"/>
              </a:ext>
            </a:extLst>
          </p:cNvPr>
          <p:cNvSpPr/>
          <p:nvPr/>
        </p:nvSpPr>
        <p:spPr>
          <a:xfrm rot="16200000">
            <a:off x="272340" y="1155365"/>
            <a:ext cx="1230243" cy="879543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TM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8D5299-6AD1-44EA-A311-D9E2B965224F}"/>
              </a:ext>
            </a:extLst>
          </p:cNvPr>
          <p:cNvSpPr/>
          <p:nvPr/>
        </p:nvSpPr>
        <p:spPr>
          <a:xfrm>
            <a:off x="1418417" y="2388996"/>
            <a:ext cx="2091745" cy="545445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Auto-Upgrade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Monthly Upda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AC7DD8-9E23-4AE1-A35D-93C5652E577E}"/>
              </a:ext>
            </a:extLst>
          </p:cNvPr>
          <p:cNvSpPr/>
          <p:nvPr/>
        </p:nvSpPr>
        <p:spPr>
          <a:xfrm>
            <a:off x="1421537" y="3311056"/>
            <a:ext cx="2088625" cy="101622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Artifact Repository (Nexus)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Environment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Log Management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TMC Databas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04BAA7-A255-4ECA-A50A-2F71ECC0712F}"/>
              </a:ext>
            </a:extLst>
          </p:cNvPr>
          <p:cNvSpPr/>
          <p:nvPr/>
        </p:nvSpPr>
        <p:spPr>
          <a:xfrm>
            <a:off x="9267440" y="1314814"/>
            <a:ext cx="2088624" cy="92195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User Management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Job Scheduling &amp; Monitoring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SG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" name="Arrow: Chevron 144">
            <a:extLst>
              <a:ext uri="{FF2B5EF4-FFF2-40B4-BE49-F238E27FC236}">
                <a16:creationId xmlns:a16="http://schemas.microsoft.com/office/drawing/2014/main" id="{8E51B181-6086-40C8-BE49-CD6FC5D7EA63}"/>
              </a:ext>
            </a:extLst>
          </p:cNvPr>
          <p:cNvSpPr/>
          <p:nvPr/>
        </p:nvSpPr>
        <p:spPr>
          <a:xfrm rot="16200000">
            <a:off x="7913074" y="1192797"/>
            <a:ext cx="1350050" cy="998912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237145-7CB8-4AAD-A25B-94AAC1194E4E}"/>
              </a:ext>
            </a:extLst>
          </p:cNvPr>
          <p:cNvSpPr/>
          <p:nvPr/>
        </p:nvSpPr>
        <p:spPr>
          <a:xfrm>
            <a:off x="9267440" y="2442409"/>
            <a:ext cx="2088624" cy="92195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Manual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S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2" name="Arrow: Chevron 146">
            <a:extLst>
              <a:ext uri="{FF2B5EF4-FFF2-40B4-BE49-F238E27FC236}">
                <a16:creationId xmlns:a16="http://schemas.microsoft.com/office/drawing/2014/main" id="{8FE47618-4E9E-42DB-A63A-D0D19A5670E2}"/>
              </a:ext>
            </a:extLst>
          </p:cNvPr>
          <p:cNvSpPr/>
          <p:nvPr/>
        </p:nvSpPr>
        <p:spPr>
          <a:xfrm rot="16200000">
            <a:off x="7913073" y="2380594"/>
            <a:ext cx="1350050" cy="998911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3" name="Arrow: Chevron 147">
            <a:extLst>
              <a:ext uri="{FF2B5EF4-FFF2-40B4-BE49-F238E27FC236}">
                <a16:creationId xmlns:a16="http://schemas.microsoft.com/office/drawing/2014/main" id="{88E6CF18-4B0C-4E5E-8F87-AFB1B004D969}"/>
              </a:ext>
            </a:extLst>
          </p:cNvPr>
          <p:cNvSpPr/>
          <p:nvPr/>
        </p:nvSpPr>
        <p:spPr>
          <a:xfrm rot="16200000">
            <a:off x="7913080" y="3488009"/>
            <a:ext cx="1350050" cy="998911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2E8652-4A76-4E97-BF59-824A1012C676}"/>
              </a:ext>
            </a:extLst>
          </p:cNvPr>
          <p:cNvSpPr/>
          <p:nvPr/>
        </p:nvSpPr>
        <p:spPr>
          <a:xfrm>
            <a:off x="9267440" y="3570004"/>
            <a:ext cx="2088625" cy="101622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Artifact Repository (Nexus)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Environment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Log Management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TAC Databas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BDA0F4-8CF9-4AA0-8CEA-C84340857C05}"/>
              </a:ext>
            </a:extLst>
          </p:cNvPr>
          <p:cNvSpPr/>
          <p:nvPr/>
        </p:nvSpPr>
        <p:spPr>
          <a:xfrm>
            <a:off x="5454599" y="1329055"/>
            <a:ext cx="2088624" cy="9219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Remote Engine 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Job Server 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SG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" name="Arrow: Chevron 150">
            <a:extLst>
              <a:ext uri="{FF2B5EF4-FFF2-40B4-BE49-F238E27FC236}">
                <a16:creationId xmlns:a16="http://schemas.microsoft.com/office/drawing/2014/main" id="{9E2DCDE3-D10D-4E3A-AFBF-4B322F0313F2}"/>
              </a:ext>
            </a:extLst>
          </p:cNvPr>
          <p:cNvSpPr/>
          <p:nvPr/>
        </p:nvSpPr>
        <p:spPr>
          <a:xfrm rot="16200000">
            <a:off x="4019543" y="1030151"/>
            <a:ext cx="1427857" cy="1082491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C43901-5936-43C7-A72B-7BC3250854A2}"/>
              </a:ext>
            </a:extLst>
          </p:cNvPr>
          <p:cNvSpPr/>
          <p:nvPr/>
        </p:nvSpPr>
        <p:spPr>
          <a:xfrm>
            <a:off x="5454599" y="2456650"/>
            <a:ext cx="2088624" cy="9219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GIT/SVN </a:t>
            </a:r>
            <a:b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</a:b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(Source code management)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S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8" name="Arrow: Chevron 152">
            <a:extLst>
              <a:ext uri="{FF2B5EF4-FFF2-40B4-BE49-F238E27FC236}">
                <a16:creationId xmlns:a16="http://schemas.microsoft.com/office/drawing/2014/main" id="{6E894975-5038-4435-A236-90093011F206}"/>
              </a:ext>
            </a:extLst>
          </p:cNvPr>
          <p:cNvSpPr/>
          <p:nvPr/>
        </p:nvSpPr>
        <p:spPr>
          <a:xfrm rot="16200000">
            <a:off x="4015659" y="2157747"/>
            <a:ext cx="1435626" cy="108248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DE5F2F-5361-4118-A8D9-B87B8F4F7052}"/>
              </a:ext>
            </a:extLst>
          </p:cNvPr>
          <p:cNvSpPr txBox="1"/>
          <p:nvPr/>
        </p:nvSpPr>
        <p:spPr>
          <a:xfrm>
            <a:off x="7939004" y="3691258"/>
            <a:ext cx="12691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Individual Modu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D17523-57E4-4FB3-BABE-183D7C3FE460}"/>
              </a:ext>
            </a:extLst>
          </p:cNvPr>
          <p:cNvSpPr txBox="1"/>
          <p:nvPr/>
        </p:nvSpPr>
        <p:spPr>
          <a:xfrm>
            <a:off x="4140675" y="1412756"/>
            <a:ext cx="1269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Data move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4F7395-0B7C-4C9E-B1FC-3917BF6A880C}"/>
              </a:ext>
            </a:extLst>
          </p:cNvPr>
          <p:cNvSpPr txBox="1"/>
          <p:nvPr/>
        </p:nvSpPr>
        <p:spPr>
          <a:xfrm>
            <a:off x="4329362" y="2496587"/>
            <a:ext cx="12691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Version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A70DFC-E4A7-404E-A3E4-E113A560FA42}"/>
              </a:ext>
            </a:extLst>
          </p:cNvPr>
          <p:cNvSpPr/>
          <p:nvPr/>
        </p:nvSpPr>
        <p:spPr>
          <a:xfrm>
            <a:off x="1405826" y="4643192"/>
            <a:ext cx="2088625" cy="541653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Immediate</a:t>
            </a:r>
          </a:p>
        </p:txBody>
      </p:sp>
      <p:sp>
        <p:nvSpPr>
          <p:cNvPr id="23" name="Arrow: Chevron 161">
            <a:extLst>
              <a:ext uri="{FF2B5EF4-FFF2-40B4-BE49-F238E27FC236}">
                <a16:creationId xmlns:a16="http://schemas.microsoft.com/office/drawing/2014/main" id="{4E6DC93B-4D9E-441A-B2AE-A9A4DA7CE962}"/>
              </a:ext>
            </a:extLst>
          </p:cNvPr>
          <p:cNvSpPr/>
          <p:nvPr/>
        </p:nvSpPr>
        <p:spPr>
          <a:xfrm rot="16200000">
            <a:off x="7956617" y="4820009"/>
            <a:ext cx="1350050" cy="998911"/>
          </a:xfrm>
          <a:prstGeom prst="chevron">
            <a:avLst/>
          </a:prstGeom>
          <a:gradFill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5690B7-B760-42A2-81EE-AF97D78AAF2F}"/>
              </a:ext>
            </a:extLst>
          </p:cNvPr>
          <p:cNvSpPr/>
          <p:nvPr/>
        </p:nvSpPr>
        <p:spPr>
          <a:xfrm>
            <a:off x="9267434" y="4756864"/>
            <a:ext cx="2088625" cy="1016224"/>
          </a:xfrm>
          <a:prstGeom prst="rect">
            <a:avLst/>
          </a:prstGeom>
          <a:gradFill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Based on server readines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803831-0710-4381-9C7B-71FFAC265DA1}"/>
              </a:ext>
            </a:extLst>
          </p:cNvPr>
          <p:cNvSpPr txBox="1"/>
          <p:nvPr/>
        </p:nvSpPr>
        <p:spPr>
          <a:xfrm>
            <a:off x="8119301" y="5197686"/>
            <a:ext cx="1039214" cy="259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Development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C739A31-A140-4D82-8169-FEE2B4E4BA87}"/>
              </a:ext>
            </a:extLst>
          </p:cNvPr>
          <p:cNvSpPr txBox="1">
            <a:spLocks/>
          </p:cNvSpPr>
          <p:nvPr/>
        </p:nvSpPr>
        <p:spPr>
          <a:xfrm>
            <a:off x="1806634" y="820150"/>
            <a:ext cx="1269165" cy="526461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7500"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kern="1200" cap="none" spc="75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Cloud</a:t>
            </a:r>
            <a:endParaRPr kumimoji="0" lang="en-US" sz="2000" b="0" i="0" u="none" strike="noStrike" kern="1200" cap="none" spc="1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j-ea"/>
              <a:cs typeface="+mj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50BF74E1-D000-4D83-B908-183563E71A78}"/>
              </a:ext>
            </a:extLst>
          </p:cNvPr>
          <p:cNvSpPr txBox="1">
            <a:spLocks/>
          </p:cNvSpPr>
          <p:nvPr/>
        </p:nvSpPr>
        <p:spPr>
          <a:xfrm>
            <a:off x="9329619" y="746053"/>
            <a:ext cx="1964253" cy="575498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7500"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kern="1200" cap="none" spc="75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On-Premise</a:t>
            </a:r>
            <a:endParaRPr kumimoji="0" lang="en-US" sz="800" b="0" i="0" u="none" strike="noStrike" kern="1200" cap="none" spc="1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j-ea"/>
              <a:cs typeface="+mj-cs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CE33865C-D89D-4325-AFBC-F2A7C39D312E}"/>
              </a:ext>
            </a:extLst>
          </p:cNvPr>
          <p:cNvSpPr txBox="1">
            <a:spLocks/>
          </p:cNvSpPr>
          <p:nvPr/>
        </p:nvSpPr>
        <p:spPr>
          <a:xfrm>
            <a:off x="5827475" y="784223"/>
            <a:ext cx="1313554" cy="526461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7500"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kern="1200" cap="none" spc="75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Common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76900B0-08D1-4FAF-B66C-B0B6497B7DAC}"/>
              </a:ext>
            </a:extLst>
          </p:cNvPr>
          <p:cNvSpPr txBox="1">
            <a:spLocks/>
          </p:cNvSpPr>
          <p:nvPr/>
        </p:nvSpPr>
        <p:spPr>
          <a:xfrm>
            <a:off x="4569598" y="4630057"/>
            <a:ext cx="2818173" cy="285890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7500"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kern="1200" cap="none" spc="75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j-cs"/>
              </a:rPr>
              <a:t>Common in both the solution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46B80C-2DCF-47D1-BCD4-2957FD1BF48A}"/>
              </a:ext>
            </a:extLst>
          </p:cNvPr>
          <p:cNvSpPr/>
          <p:nvPr/>
        </p:nvSpPr>
        <p:spPr>
          <a:xfrm>
            <a:off x="5454587" y="3632154"/>
            <a:ext cx="2088624" cy="9219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Studio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S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1" name="Arrow: Chevron 32">
            <a:extLst>
              <a:ext uri="{FF2B5EF4-FFF2-40B4-BE49-F238E27FC236}">
                <a16:creationId xmlns:a16="http://schemas.microsoft.com/office/drawing/2014/main" id="{C5334BCA-8467-474F-8CE2-3577ED8A1D5B}"/>
              </a:ext>
            </a:extLst>
          </p:cNvPr>
          <p:cNvSpPr/>
          <p:nvPr/>
        </p:nvSpPr>
        <p:spPr>
          <a:xfrm rot="16200000">
            <a:off x="4015655" y="3349636"/>
            <a:ext cx="1435626" cy="1082485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7B3D51B-2E96-4B2D-B489-422A5C115CCA}"/>
              </a:ext>
            </a:extLst>
          </p:cNvPr>
          <p:cNvSpPr txBox="1"/>
          <p:nvPr/>
        </p:nvSpPr>
        <p:spPr>
          <a:xfrm>
            <a:off x="4443331" y="3672114"/>
            <a:ext cx="767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Desig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E6E42-03C7-4C1C-871C-230684EAAFC7}"/>
              </a:ext>
            </a:extLst>
          </p:cNvPr>
          <p:cNvSpPr/>
          <p:nvPr/>
        </p:nvSpPr>
        <p:spPr>
          <a:xfrm>
            <a:off x="1405825" y="5538976"/>
            <a:ext cx="2088625" cy="541653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9</a:t>
            </a:r>
            <a:r>
              <a:rPr kumimoji="0" lang="en-SG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9.9% Up Time</a:t>
            </a:r>
          </a:p>
        </p:txBody>
      </p:sp>
      <p:sp>
        <p:nvSpPr>
          <p:cNvPr id="34" name="Arrow: Chevron 37">
            <a:extLst>
              <a:ext uri="{FF2B5EF4-FFF2-40B4-BE49-F238E27FC236}">
                <a16:creationId xmlns:a16="http://schemas.microsoft.com/office/drawing/2014/main" id="{B8707AB3-EC29-4324-9C59-EDB656EC005F}"/>
              </a:ext>
            </a:extLst>
          </p:cNvPr>
          <p:cNvSpPr/>
          <p:nvPr/>
        </p:nvSpPr>
        <p:spPr>
          <a:xfrm rot="16200000">
            <a:off x="265362" y="2112033"/>
            <a:ext cx="1230243" cy="879543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Upgrade</a:t>
            </a: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5" name="Arrow: Chevron 38">
            <a:extLst>
              <a:ext uri="{FF2B5EF4-FFF2-40B4-BE49-F238E27FC236}">
                <a16:creationId xmlns:a16="http://schemas.microsoft.com/office/drawing/2014/main" id="{B318DB2B-D6A6-48FD-9758-CC367BA2DD02}"/>
              </a:ext>
            </a:extLst>
          </p:cNvPr>
          <p:cNvSpPr/>
          <p:nvPr/>
        </p:nvSpPr>
        <p:spPr>
          <a:xfrm rot="16200000">
            <a:off x="263023" y="3159117"/>
            <a:ext cx="1230243" cy="879544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In-Build</a:t>
            </a: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Arrow: Chevron 40">
            <a:extLst>
              <a:ext uri="{FF2B5EF4-FFF2-40B4-BE49-F238E27FC236}">
                <a16:creationId xmlns:a16="http://schemas.microsoft.com/office/drawing/2014/main" id="{ED279AEF-D61E-4BF7-B8DE-31A3CB86B98E}"/>
              </a:ext>
            </a:extLst>
          </p:cNvPr>
          <p:cNvSpPr/>
          <p:nvPr/>
        </p:nvSpPr>
        <p:spPr>
          <a:xfrm rot="16200000">
            <a:off x="263023" y="5256394"/>
            <a:ext cx="1230243" cy="879543"/>
          </a:xfrm>
          <a:prstGeom prst="chevron">
            <a:avLst/>
          </a:prstGeom>
          <a:gradFill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Up Time</a:t>
            </a: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7" name="Arrow: Chevron 41">
            <a:extLst>
              <a:ext uri="{FF2B5EF4-FFF2-40B4-BE49-F238E27FC236}">
                <a16:creationId xmlns:a16="http://schemas.microsoft.com/office/drawing/2014/main" id="{A2309E95-120A-46A0-8C95-90C8D25FA6E4}"/>
              </a:ext>
            </a:extLst>
          </p:cNvPr>
          <p:cNvSpPr/>
          <p:nvPr/>
        </p:nvSpPr>
        <p:spPr>
          <a:xfrm rot="16200000" flipV="1">
            <a:off x="237976" y="4187096"/>
            <a:ext cx="1285012" cy="933059"/>
          </a:xfrm>
          <a:prstGeom prst="chevron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rtlCol="0" anchor="ctr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7007364-7795-428E-A5A8-C31A72D093CD}"/>
              </a:ext>
            </a:extLst>
          </p:cNvPr>
          <p:cNvSpPr txBox="1"/>
          <p:nvPr/>
        </p:nvSpPr>
        <p:spPr>
          <a:xfrm>
            <a:off x="372498" y="4470550"/>
            <a:ext cx="1448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Develop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296BA99-B4A5-45F1-BBB0-D690EB8D669C}"/>
              </a:ext>
            </a:extLst>
          </p:cNvPr>
          <p:cNvSpPr txBox="1"/>
          <p:nvPr/>
        </p:nvSpPr>
        <p:spPr>
          <a:xfrm>
            <a:off x="7939003" y="2726956"/>
            <a:ext cx="12691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Upgrade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5D38A840-4FE2-4548-A4AC-486D2AFA4F4C}"/>
              </a:ext>
            </a:extLst>
          </p:cNvPr>
          <p:cNvSpPr txBox="1">
            <a:spLocks/>
          </p:cNvSpPr>
          <p:nvPr/>
        </p:nvSpPr>
        <p:spPr>
          <a:xfrm>
            <a:off x="1547534" y="6080629"/>
            <a:ext cx="1787364" cy="343678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7500"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kern="1200" cap="none" spc="75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j-ea"/>
                <a:cs typeface="+mj-cs"/>
              </a:rPr>
              <a:t>Talend Manag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E29DA1C-9428-4E33-A621-49EE8CF4EFDA}"/>
              </a:ext>
            </a:extLst>
          </p:cNvPr>
          <p:cNvSpPr txBox="1"/>
          <p:nvPr/>
        </p:nvSpPr>
        <p:spPr>
          <a:xfrm>
            <a:off x="7953515" y="1516419"/>
            <a:ext cx="12691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+mn-cs"/>
              </a:rPr>
              <a:t>TA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80FF20A-C61D-454C-8926-8F35BF74130D}"/>
              </a:ext>
            </a:extLst>
          </p:cNvPr>
          <p:cNvSpPr txBox="1"/>
          <p:nvPr/>
        </p:nvSpPr>
        <p:spPr>
          <a:xfrm>
            <a:off x="9087554" y="5773188"/>
            <a:ext cx="253946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ustomer Managed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for each environment </a:t>
            </a:r>
            <a:br>
              <a:rPr kumimoji="0" lang="en-US" sz="1050" b="1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1050" b="1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(Dev, UAT, Prod etc.)</a:t>
            </a:r>
            <a:endParaRPr kumimoji="0" lang="en-US" sz="1100" b="1" i="0" u="none" strike="noStrike" kern="1200" cap="none" spc="1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992230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AC2619E-42CE-4170-A849-C0D3A9DDC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267193"/>
            <a:ext cx="11404600" cy="430887"/>
          </a:xfrm>
        </p:spPr>
        <p:txBody>
          <a:bodyPr/>
          <a:lstStyle/>
          <a:p>
            <a:r>
              <a:rPr lang="en-US" dirty="0"/>
              <a:t>Talend Cloud VS Talend On-Prem</a:t>
            </a:r>
            <a:endParaRPr lang="en-US" dirty="0">
              <a:latin typeface="Roboto (Headings)"/>
            </a:endParaRPr>
          </a:p>
        </p:txBody>
      </p:sp>
      <p:sp>
        <p:nvSpPr>
          <p:cNvPr id="387" name="Rectangle: Rounded Corners 184">
            <a:extLst>
              <a:ext uri="{FF2B5EF4-FFF2-40B4-BE49-F238E27FC236}">
                <a16:creationId xmlns:a16="http://schemas.microsoft.com/office/drawing/2014/main" id="{BF9A36DC-50B7-4430-B6D6-757DC21064C1}"/>
              </a:ext>
            </a:extLst>
          </p:cNvPr>
          <p:cNvSpPr/>
          <p:nvPr/>
        </p:nvSpPr>
        <p:spPr>
          <a:xfrm>
            <a:off x="6619104" y="1286405"/>
            <a:ext cx="5224556" cy="5251258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F26000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600" b="0" i="0" u="none" strike="noStrike" kern="0" cap="none" spc="0" normalizeH="0" baseline="0" noProof="0">
              <a:ln>
                <a:noFill/>
              </a:ln>
              <a:solidFill>
                <a:srgbClr val="323E48"/>
              </a:solidFill>
              <a:effectLst/>
              <a:uLnTx/>
              <a:uFillTx/>
              <a:latin typeface="Roboto (Body)"/>
              <a:ea typeface="+mn-ea"/>
              <a:cs typeface="+mn-cs"/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F8EBB5A8-C3AC-4571-92B2-6E7EF970FC4A}"/>
              </a:ext>
            </a:extLst>
          </p:cNvPr>
          <p:cNvSpPr/>
          <p:nvPr/>
        </p:nvSpPr>
        <p:spPr>
          <a:xfrm>
            <a:off x="3827674" y="4506184"/>
            <a:ext cx="1771893" cy="1489167"/>
          </a:xfrm>
          <a:prstGeom prst="rect">
            <a:avLst/>
          </a:prstGeom>
          <a:solidFill>
            <a:srgbClr val="323E48"/>
          </a:solidFill>
          <a:ln w="12700" cap="flat" cmpd="sng" algn="ctr">
            <a:solidFill>
              <a:srgbClr val="FFFFFF"/>
            </a:solidFill>
            <a:prstDash val="dash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700" b="0" i="0" u="none" strike="noStrike" kern="0" cap="none" spc="0" normalizeH="0" baseline="0" noProof="0">
              <a:ln>
                <a:noFill/>
              </a:ln>
              <a:solidFill>
                <a:srgbClr val="0B60C1"/>
              </a:solidFill>
              <a:effectLst/>
              <a:uLnTx/>
              <a:uFillTx/>
              <a:latin typeface="Roboto (Body)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2DFEE65D-739D-46AD-8EE7-59417C82948B}"/>
              </a:ext>
            </a:extLst>
          </p:cNvPr>
          <p:cNvGrpSpPr/>
          <p:nvPr/>
        </p:nvGrpSpPr>
        <p:grpSpPr>
          <a:xfrm>
            <a:off x="304804" y="3874158"/>
            <a:ext cx="5377701" cy="289079"/>
            <a:chOff x="506682" y="4498448"/>
            <a:chExt cx="11148407" cy="295493"/>
          </a:xfrm>
        </p:grpSpPr>
        <p:grpSp>
          <p:nvGrpSpPr>
            <p:cNvPr id="505" name="Group 504">
              <a:extLst>
                <a:ext uri="{FF2B5EF4-FFF2-40B4-BE49-F238E27FC236}">
                  <a16:creationId xmlns:a16="http://schemas.microsoft.com/office/drawing/2014/main" id="{259A181B-EDD1-40AD-959D-147C65A55F21}"/>
                </a:ext>
              </a:extLst>
            </p:cNvPr>
            <p:cNvGrpSpPr/>
            <p:nvPr/>
          </p:nvGrpSpPr>
          <p:grpSpPr>
            <a:xfrm>
              <a:off x="506682" y="4591345"/>
              <a:ext cx="11148407" cy="111586"/>
              <a:chOff x="506682" y="4566277"/>
              <a:chExt cx="11148407" cy="111586"/>
            </a:xfrm>
          </p:grpSpPr>
          <p:cxnSp>
            <p:nvCxnSpPr>
              <p:cNvPr id="508" name="Straight Connector 507">
                <a:extLst>
                  <a:ext uri="{FF2B5EF4-FFF2-40B4-BE49-F238E27FC236}">
                    <a16:creationId xmlns:a16="http://schemas.microsoft.com/office/drawing/2014/main" id="{DEBCC726-24BF-4036-B190-2F169CDB8125}"/>
                  </a:ext>
                </a:extLst>
              </p:cNvPr>
              <p:cNvCxnSpPr>
                <a:endCxn id="510" idx="2"/>
              </p:cNvCxnSpPr>
              <p:nvPr/>
            </p:nvCxnSpPr>
            <p:spPr>
              <a:xfrm flipV="1">
                <a:off x="523392" y="4622070"/>
                <a:ext cx="11020111" cy="5813"/>
              </a:xfrm>
              <a:prstGeom prst="line">
                <a:avLst/>
              </a:prstGeom>
              <a:noFill/>
              <a:ln w="19050" cap="flat" cmpd="sng" algn="ctr">
                <a:solidFill>
                  <a:srgbClr val="FF66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BA16C629-185A-4D9F-B0EA-1BDB8D097021}"/>
                  </a:ext>
                </a:extLst>
              </p:cNvPr>
              <p:cNvSpPr/>
              <p:nvPr/>
            </p:nvSpPr>
            <p:spPr>
              <a:xfrm>
                <a:off x="506682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A3E60127-16E7-4E62-A773-8EBEB0472832}"/>
                  </a:ext>
                </a:extLst>
              </p:cNvPr>
              <p:cNvSpPr/>
              <p:nvPr/>
            </p:nvSpPr>
            <p:spPr>
              <a:xfrm>
                <a:off x="11543503" y="4566277"/>
                <a:ext cx="111586" cy="111586"/>
              </a:xfrm>
              <a:prstGeom prst="ellipse">
                <a:avLst/>
              </a:prstGeom>
              <a:solidFill>
                <a:srgbClr val="FF660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endParaRPr>
              </a:p>
            </p:txBody>
          </p:sp>
        </p:grpSp>
        <p:sp>
          <p:nvSpPr>
            <p:cNvPr id="506" name="Rounded Rectangle 5">
              <a:extLst>
                <a:ext uri="{FF2B5EF4-FFF2-40B4-BE49-F238E27FC236}">
                  <a16:creationId xmlns:a16="http://schemas.microsoft.com/office/drawing/2014/main" id="{8586B012-E6FE-4BC4-99AC-C8BFD561A494}"/>
                </a:ext>
              </a:extLst>
            </p:cNvPr>
            <p:cNvSpPr/>
            <p:nvPr/>
          </p:nvSpPr>
          <p:spPr>
            <a:xfrm>
              <a:off x="802080" y="4498448"/>
              <a:ext cx="1670993" cy="295493"/>
            </a:xfrm>
            <a:prstGeom prst="roundRect">
              <a:avLst/>
            </a:prstGeom>
            <a:solidFill>
              <a:srgbClr val="FF6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rPr>
                <a:t>Firewall</a:t>
              </a:r>
            </a:p>
          </p:txBody>
        </p:sp>
        <p:sp>
          <p:nvSpPr>
            <p:cNvPr id="507" name="Rounded Rectangle 71">
              <a:extLst>
                <a:ext uri="{FF2B5EF4-FFF2-40B4-BE49-F238E27FC236}">
                  <a16:creationId xmlns:a16="http://schemas.microsoft.com/office/drawing/2014/main" id="{58E57481-4704-4E49-888E-BDC730DE8343}"/>
                </a:ext>
              </a:extLst>
            </p:cNvPr>
            <p:cNvSpPr/>
            <p:nvPr/>
          </p:nvSpPr>
          <p:spPr>
            <a:xfrm>
              <a:off x="9587352" y="4498448"/>
              <a:ext cx="1758707" cy="295493"/>
            </a:xfrm>
            <a:prstGeom prst="roundRect">
              <a:avLst/>
            </a:prstGeom>
            <a:solidFill>
              <a:srgbClr val="FF6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rPr>
                <a:t>Firewall</a:t>
              </a:r>
            </a:p>
          </p:txBody>
        </p:sp>
      </p:grpSp>
      <p:cxnSp>
        <p:nvCxnSpPr>
          <p:cNvPr id="390" name="Straight Arrow Connector 389">
            <a:extLst>
              <a:ext uri="{FF2B5EF4-FFF2-40B4-BE49-F238E27FC236}">
                <a16:creationId xmlns:a16="http://schemas.microsoft.com/office/drawing/2014/main" id="{DCCFB6A5-2459-4312-A5BA-7EBCBD6E7788}"/>
              </a:ext>
            </a:extLst>
          </p:cNvPr>
          <p:cNvCxnSpPr>
            <a:cxnSpLocks/>
          </p:cNvCxnSpPr>
          <p:nvPr/>
        </p:nvCxnSpPr>
        <p:spPr>
          <a:xfrm flipV="1">
            <a:off x="2532126" y="5143430"/>
            <a:ext cx="0" cy="628076"/>
          </a:xfrm>
          <a:prstGeom prst="straightConnector1">
            <a:avLst/>
          </a:prstGeom>
          <a:noFill/>
          <a:ln w="38100" cap="flat" cmpd="sng" algn="ctr">
            <a:solidFill>
              <a:srgbClr val="B6D330"/>
            </a:solidFill>
            <a:prstDash val="solid"/>
            <a:miter lim="800000"/>
            <a:headEnd type="arrow"/>
            <a:tailEnd type="arrow"/>
          </a:ln>
          <a:effectLst/>
        </p:spPr>
      </p:cxnSp>
      <p:pic>
        <p:nvPicPr>
          <p:cNvPr id="391" name="Picture 390">
            <a:extLst>
              <a:ext uri="{FF2B5EF4-FFF2-40B4-BE49-F238E27FC236}">
                <a16:creationId xmlns:a16="http://schemas.microsoft.com/office/drawing/2014/main" id="{D4710488-E9B2-4B36-8844-A9BD35F464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733" y="4634200"/>
            <a:ext cx="775827" cy="1206214"/>
          </a:xfrm>
          <a:prstGeom prst="rect">
            <a:avLst/>
          </a:prstGeom>
        </p:spPr>
      </p:pic>
      <p:sp>
        <p:nvSpPr>
          <p:cNvPr id="392" name="TextBox 391">
            <a:extLst>
              <a:ext uri="{FF2B5EF4-FFF2-40B4-BE49-F238E27FC236}">
                <a16:creationId xmlns:a16="http://schemas.microsoft.com/office/drawing/2014/main" id="{78DBC45C-9E52-416F-A48D-9997ADF2E7D0}"/>
              </a:ext>
            </a:extLst>
          </p:cNvPr>
          <p:cNvSpPr txBox="1"/>
          <p:nvPr/>
        </p:nvSpPr>
        <p:spPr>
          <a:xfrm>
            <a:off x="3804186" y="5110912"/>
            <a:ext cx="8866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00" b="0" i="0" u="none" strike="noStrike" kern="0" cap="none" spc="0" normalizeH="0" baseline="0" noProof="0" dirty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Calibri"/>
              </a:rPr>
              <a:t>Remote Engine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097CC9B6-E875-4F20-8E8F-F17FF8617FF4}"/>
              </a:ext>
            </a:extLst>
          </p:cNvPr>
          <p:cNvSpPr txBox="1"/>
          <p:nvPr/>
        </p:nvSpPr>
        <p:spPr>
          <a:xfrm>
            <a:off x="2003518" y="4958479"/>
            <a:ext cx="10686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Calibri"/>
              </a:rPr>
              <a:t>Remote Engine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B66CE7F-1498-4787-A82D-579382C3A08D}"/>
              </a:ext>
            </a:extLst>
          </p:cNvPr>
          <p:cNvSpPr/>
          <p:nvPr/>
        </p:nvSpPr>
        <p:spPr>
          <a:xfrm>
            <a:off x="3739024" y="5807546"/>
            <a:ext cx="1118028" cy="1786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Hadoop Cluster</a:t>
            </a:r>
          </a:p>
        </p:txBody>
      </p:sp>
      <p:cxnSp>
        <p:nvCxnSpPr>
          <p:cNvPr id="395" name="Straight Arrow Connector 394">
            <a:extLst>
              <a:ext uri="{FF2B5EF4-FFF2-40B4-BE49-F238E27FC236}">
                <a16:creationId xmlns:a16="http://schemas.microsoft.com/office/drawing/2014/main" id="{721AEA4A-C6D0-4876-BCFD-C7297E712717}"/>
              </a:ext>
            </a:extLst>
          </p:cNvPr>
          <p:cNvCxnSpPr>
            <a:cxnSpLocks/>
          </p:cNvCxnSpPr>
          <p:nvPr/>
        </p:nvCxnSpPr>
        <p:spPr>
          <a:xfrm>
            <a:off x="1384776" y="3350556"/>
            <a:ext cx="0" cy="1080345"/>
          </a:xfrm>
          <a:prstGeom prst="straightConnector1">
            <a:avLst/>
          </a:prstGeom>
          <a:noFill/>
          <a:ln w="38100" cap="flat" cmpd="sng" algn="ctr">
            <a:solidFill>
              <a:srgbClr val="4ABDE5"/>
            </a:solidFill>
            <a:prstDash val="solid"/>
            <a:miter lim="800000"/>
            <a:headEnd type="arrow"/>
            <a:tailEnd type="arrow"/>
          </a:ln>
          <a:effectLst/>
        </p:spPr>
      </p:cxnSp>
      <p:cxnSp>
        <p:nvCxnSpPr>
          <p:cNvPr id="396" name="Straight Arrow Connector 395">
            <a:extLst>
              <a:ext uri="{FF2B5EF4-FFF2-40B4-BE49-F238E27FC236}">
                <a16:creationId xmlns:a16="http://schemas.microsoft.com/office/drawing/2014/main" id="{4D2CD3F9-6574-4B02-B663-00944610E601}"/>
              </a:ext>
            </a:extLst>
          </p:cNvPr>
          <p:cNvCxnSpPr>
            <a:cxnSpLocks/>
          </p:cNvCxnSpPr>
          <p:nvPr/>
        </p:nvCxnSpPr>
        <p:spPr>
          <a:xfrm flipH="1" flipV="1">
            <a:off x="2537830" y="3350556"/>
            <a:ext cx="2250" cy="1072344"/>
          </a:xfrm>
          <a:prstGeom prst="straightConnector1">
            <a:avLst/>
          </a:prstGeom>
          <a:noFill/>
          <a:ln w="38100" cap="flat" cmpd="sng" algn="ctr">
            <a:solidFill>
              <a:srgbClr val="9D51A0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97" name="Straight Arrow Connector 396">
            <a:extLst>
              <a:ext uri="{FF2B5EF4-FFF2-40B4-BE49-F238E27FC236}">
                <a16:creationId xmlns:a16="http://schemas.microsoft.com/office/drawing/2014/main" id="{D77B6AF3-7D03-42B2-B84F-B5AA98E938A9}"/>
              </a:ext>
            </a:extLst>
          </p:cNvPr>
          <p:cNvCxnSpPr>
            <a:cxnSpLocks/>
          </p:cNvCxnSpPr>
          <p:nvPr/>
        </p:nvCxnSpPr>
        <p:spPr>
          <a:xfrm flipV="1">
            <a:off x="4005271" y="3290145"/>
            <a:ext cx="0" cy="1159541"/>
          </a:xfrm>
          <a:prstGeom prst="straightConnector1">
            <a:avLst/>
          </a:prstGeom>
          <a:noFill/>
          <a:ln w="38100" cap="flat" cmpd="sng" algn="ctr">
            <a:solidFill>
              <a:srgbClr val="9D51A0"/>
            </a:solidFill>
            <a:prstDash val="solid"/>
            <a:miter lim="800000"/>
            <a:tailEnd type="arrow"/>
          </a:ln>
          <a:effectLst/>
        </p:spPr>
      </p:cxnSp>
      <p:sp>
        <p:nvSpPr>
          <p:cNvPr id="398" name="Rectangle 397">
            <a:extLst>
              <a:ext uri="{FF2B5EF4-FFF2-40B4-BE49-F238E27FC236}">
                <a16:creationId xmlns:a16="http://schemas.microsoft.com/office/drawing/2014/main" id="{08CF99D7-1940-4571-9328-CC0CF5B985BA}"/>
              </a:ext>
            </a:extLst>
          </p:cNvPr>
          <p:cNvSpPr/>
          <p:nvPr/>
        </p:nvSpPr>
        <p:spPr>
          <a:xfrm>
            <a:off x="7845037" y="2149059"/>
            <a:ext cx="1714802" cy="786004"/>
          </a:xfrm>
          <a:prstGeom prst="rect">
            <a:avLst/>
          </a:prstGeom>
          <a:gradFill flip="none" rotWithShape="1">
            <a:gsLst>
              <a:gs pos="0">
                <a:srgbClr val="F66A6B">
                  <a:lumMod val="5000"/>
                  <a:lumOff val="95000"/>
                </a:srgbClr>
              </a:gs>
              <a:gs pos="74000">
                <a:srgbClr val="F66A6B">
                  <a:lumMod val="45000"/>
                  <a:lumOff val="55000"/>
                </a:srgbClr>
              </a:gs>
              <a:gs pos="83000">
                <a:srgbClr val="F66A6B">
                  <a:lumMod val="45000"/>
                  <a:lumOff val="55000"/>
                </a:srgbClr>
              </a:gs>
              <a:gs pos="100000">
                <a:srgbClr val="F66A6B">
                  <a:lumMod val="30000"/>
                  <a:lumOff val="70000"/>
                </a:srgbClr>
              </a:gs>
            </a:gsLst>
            <a:lin ang="5400000" scaled="1"/>
            <a:tileRect/>
          </a:gradFill>
          <a:ln w="12700" cap="flat" cmpd="sng" algn="ctr">
            <a:gradFill flip="none" rotWithShape="1">
              <a:gsLst>
                <a:gs pos="0">
                  <a:srgbClr val="FFFFFF">
                    <a:lumMod val="67000"/>
                  </a:srgbClr>
                </a:gs>
                <a:gs pos="48000">
                  <a:srgbClr val="FFFFFF">
                    <a:lumMod val="97000"/>
                    <a:lumOff val="3000"/>
                  </a:srgbClr>
                </a:gs>
                <a:gs pos="100000">
                  <a:srgbClr val="FFFFFF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900" b="0" i="0" u="none" strike="noStrike" kern="0" cap="none" spc="0" normalizeH="0" baseline="0" noProof="0" dirty="0">
              <a:ln>
                <a:noFill/>
              </a:ln>
              <a:solidFill>
                <a:srgbClr val="323E48"/>
              </a:solidFill>
              <a:effectLst/>
              <a:uLnTx/>
              <a:uFillTx/>
              <a:latin typeface="Roboto (Body)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900" b="0" i="0" u="none" strike="noStrike" kern="0" cap="none" spc="0" normalizeH="0" baseline="0" noProof="0" dirty="0">
              <a:ln>
                <a:noFill/>
              </a:ln>
              <a:solidFill>
                <a:srgbClr val="323E48"/>
              </a:solidFill>
              <a:effectLst/>
              <a:uLnTx/>
              <a:uFillTx/>
              <a:latin typeface="Roboto (Body)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900" b="0" i="0" u="none" strike="noStrike" kern="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 (Body)"/>
                <a:ea typeface="+mn-ea"/>
                <a:cs typeface="+mn-cs"/>
              </a:rPr>
              <a:t>       TAC, Nexus, Log Server</a:t>
            </a: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9B088CCE-AFF9-4027-92F5-E34E470F27D6}"/>
              </a:ext>
            </a:extLst>
          </p:cNvPr>
          <p:cNvSpPr/>
          <p:nvPr/>
        </p:nvSpPr>
        <p:spPr>
          <a:xfrm>
            <a:off x="7845037" y="2149062"/>
            <a:ext cx="1714802" cy="349758"/>
          </a:xfrm>
          <a:prstGeom prst="rect">
            <a:avLst/>
          </a:prstGeom>
          <a:gradFill flip="none" rotWithShape="1">
            <a:gsLst>
              <a:gs pos="0">
                <a:srgbClr val="F66A6B">
                  <a:lumMod val="5000"/>
                  <a:lumOff val="95000"/>
                </a:srgbClr>
              </a:gs>
              <a:gs pos="74000">
                <a:srgbClr val="F66A6B">
                  <a:lumMod val="45000"/>
                  <a:lumOff val="55000"/>
                </a:srgbClr>
              </a:gs>
              <a:gs pos="83000">
                <a:srgbClr val="F66A6B">
                  <a:lumMod val="45000"/>
                  <a:lumOff val="55000"/>
                </a:srgbClr>
              </a:gs>
              <a:gs pos="100000">
                <a:srgbClr val="F66A6B">
                  <a:lumMod val="30000"/>
                  <a:lumOff val="70000"/>
                </a:srgbClr>
              </a:gs>
            </a:gsLst>
            <a:lin ang="5400000" scaled="1"/>
            <a:tileRect/>
          </a:gradFill>
          <a:ln w="12700" cap="flat" cmpd="sng" algn="ctr">
            <a:gradFill flip="none" rotWithShape="1">
              <a:gsLst>
                <a:gs pos="0">
                  <a:srgbClr val="FFFFFF">
                    <a:lumMod val="40000"/>
                    <a:lumOff val="60000"/>
                  </a:srgbClr>
                </a:gs>
                <a:gs pos="46000">
                  <a:srgbClr val="FFFFFF">
                    <a:lumMod val="95000"/>
                    <a:lumOff val="5000"/>
                  </a:srgbClr>
                </a:gs>
                <a:gs pos="100000">
                  <a:srgbClr val="FFFFFF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900" b="0" i="0" u="none" strike="noStrike" kern="0" cap="none" spc="0" normalizeH="0" baseline="0" noProof="0" dirty="0">
                <a:ln>
                  <a:noFill/>
                </a:ln>
                <a:solidFill>
                  <a:srgbClr val="323E48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Server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622F56D6-BDEF-49A2-8588-E13D0FA0960D}"/>
              </a:ext>
            </a:extLst>
          </p:cNvPr>
          <p:cNvSpPr txBox="1"/>
          <p:nvPr/>
        </p:nvSpPr>
        <p:spPr>
          <a:xfrm>
            <a:off x="10644470" y="2429270"/>
            <a:ext cx="127175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Calibri"/>
              </a:rPr>
              <a:t>TAC, DQ Databases</a:t>
            </a: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E18E947C-AEED-4A6F-BAE5-5E8871081077}"/>
              </a:ext>
            </a:extLst>
          </p:cNvPr>
          <p:cNvSpPr/>
          <p:nvPr/>
        </p:nvSpPr>
        <p:spPr>
          <a:xfrm>
            <a:off x="9712951" y="4268524"/>
            <a:ext cx="1771893" cy="1489167"/>
          </a:xfrm>
          <a:prstGeom prst="rect">
            <a:avLst/>
          </a:prstGeom>
          <a:solidFill>
            <a:srgbClr val="323E48"/>
          </a:solidFill>
          <a:ln w="12700" cap="flat" cmpd="sng" algn="ctr">
            <a:solidFill>
              <a:srgbClr val="FFFFFF"/>
            </a:solidFill>
            <a:prstDash val="dash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700" b="0" i="0" u="none" strike="noStrike" kern="0" cap="none" spc="0" normalizeH="0" baseline="0" noProof="0">
              <a:ln>
                <a:noFill/>
              </a:ln>
              <a:solidFill>
                <a:srgbClr val="0B60C1"/>
              </a:solidFill>
              <a:effectLst/>
              <a:uLnTx/>
              <a:uFillTx/>
              <a:latin typeface="Roboto (Body)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402" name="Straight Arrow Connector 401">
            <a:extLst>
              <a:ext uri="{FF2B5EF4-FFF2-40B4-BE49-F238E27FC236}">
                <a16:creationId xmlns:a16="http://schemas.microsoft.com/office/drawing/2014/main" id="{6A40107C-F115-408F-9356-3C6DC9D7C98F}"/>
              </a:ext>
            </a:extLst>
          </p:cNvPr>
          <p:cNvCxnSpPr>
            <a:cxnSpLocks/>
          </p:cNvCxnSpPr>
          <p:nvPr/>
        </p:nvCxnSpPr>
        <p:spPr>
          <a:xfrm flipV="1">
            <a:off x="8623761" y="4930511"/>
            <a:ext cx="0" cy="628076"/>
          </a:xfrm>
          <a:prstGeom prst="straightConnector1">
            <a:avLst/>
          </a:prstGeom>
          <a:noFill/>
          <a:ln w="38100" cap="flat" cmpd="sng" algn="ctr">
            <a:solidFill>
              <a:srgbClr val="B6D330"/>
            </a:solidFill>
            <a:prstDash val="solid"/>
            <a:miter lim="800000"/>
            <a:headEnd type="arrow"/>
            <a:tailEnd type="arrow"/>
          </a:ln>
          <a:effectLst/>
        </p:spPr>
      </p:cxnSp>
      <p:pic>
        <p:nvPicPr>
          <p:cNvPr id="403" name="Picture 402">
            <a:extLst>
              <a:ext uri="{FF2B5EF4-FFF2-40B4-BE49-F238E27FC236}">
                <a16:creationId xmlns:a16="http://schemas.microsoft.com/office/drawing/2014/main" id="{5ADAD334-62AE-45E8-800D-564213028E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8010" y="4396540"/>
            <a:ext cx="775827" cy="1206214"/>
          </a:xfrm>
          <a:prstGeom prst="rect">
            <a:avLst/>
          </a:prstGeom>
        </p:spPr>
      </p:pic>
      <p:sp>
        <p:nvSpPr>
          <p:cNvPr id="404" name="TextBox 403">
            <a:extLst>
              <a:ext uri="{FF2B5EF4-FFF2-40B4-BE49-F238E27FC236}">
                <a16:creationId xmlns:a16="http://schemas.microsoft.com/office/drawing/2014/main" id="{0AFDBD85-BCB8-4950-B6A3-576B3DB63652}"/>
              </a:ext>
            </a:extLst>
          </p:cNvPr>
          <p:cNvSpPr txBox="1"/>
          <p:nvPr/>
        </p:nvSpPr>
        <p:spPr>
          <a:xfrm>
            <a:off x="9689463" y="4873252"/>
            <a:ext cx="8866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700" b="0" i="0" u="none" strike="noStrike" kern="0" cap="none" spc="0" normalizeH="0" baseline="0" noProof="0" dirty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Calibri"/>
              </a:rPr>
              <a:t>Job Server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85359ED8-8615-4E94-8E9F-FD0B54C12D46}"/>
              </a:ext>
            </a:extLst>
          </p:cNvPr>
          <p:cNvSpPr txBox="1"/>
          <p:nvPr/>
        </p:nvSpPr>
        <p:spPr>
          <a:xfrm>
            <a:off x="8226142" y="4695255"/>
            <a:ext cx="8312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Calibri"/>
              </a:rPr>
              <a:t>Job Server</a:t>
            </a: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B2B8ACB8-236C-4364-95B0-9BA83E2B0EB7}"/>
              </a:ext>
            </a:extLst>
          </p:cNvPr>
          <p:cNvSpPr/>
          <p:nvPr/>
        </p:nvSpPr>
        <p:spPr>
          <a:xfrm>
            <a:off x="9640831" y="5579470"/>
            <a:ext cx="1119028" cy="1784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91D1ED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Hadoop Cluster</a:t>
            </a:r>
          </a:p>
        </p:txBody>
      </p:sp>
      <p:cxnSp>
        <p:nvCxnSpPr>
          <p:cNvPr id="407" name="Straight Arrow Connector 406">
            <a:extLst>
              <a:ext uri="{FF2B5EF4-FFF2-40B4-BE49-F238E27FC236}">
                <a16:creationId xmlns:a16="http://schemas.microsoft.com/office/drawing/2014/main" id="{BB7D8FE9-3964-4386-98C7-1C701EBCB543}"/>
              </a:ext>
            </a:extLst>
          </p:cNvPr>
          <p:cNvCxnSpPr>
            <a:cxnSpLocks/>
          </p:cNvCxnSpPr>
          <p:nvPr/>
        </p:nvCxnSpPr>
        <p:spPr>
          <a:xfrm flipH="1" flipV="1">
            <a:off x="8602756" y="3045261"/>
            <a:ext cx="2250" cy="1072344"/>
          </a:xfrm>
          <a:prstGeom prst="straightConnector1">
            <a:avLst/>
          </a:prstGeom>
          <a:noFill/>
          <a:ln w="38100" cap="flat" cmpd="sng" algn="ctr">
            <a:solidFill>
              <a:srgbClr val="9D51A0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8" name="Straight Arrow Connector 407">
            <a:extLst>
              <a:ext uri="{FF2B5EF4-FFF2-40B4-BE49-F238E27FC236}">
                <a16:creationId xmlns:a16="http://schemas.microsoft.com/office/drawing/2014/main" id="{B7A78C11-256C-4A50-951D-BF6F91E8FA19}"/>
              </a:ext>
            </a:extLst>
          </p:cNvPr>
          <p:cNvCxnSpPr>
            <a:cxnSpLocks/>
          </p:cNvCxnSpPr>
          <p:nvPr/>
        </p:nvCxnSpPr>
        <p:spPr>
          <a:xfrm flipH="1" flipV="1">
            <a:off x="9282008" y="3042545"/>
            <a:ext cx="546681" cy="1224573"/>
          </a:xfrm>
          <a:prstGeom prst="straightConnector1">
            <a:avLst/>
          </a:prstGeom>
          <a:noFill/>
          <a:ln w="38100" cap="flat" cmpd="sng" algn="ctr">
            <a:solidFill>
              <a:srgbClr val="9D51A0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9" name="Straight Arrow Connector 408">
            <a:extLst>
              <a:ext uri="{FF2B5EF4-FFF2-40B4-BE49-F238E27FC236}">
                <a16:creationId xmlns:a16="http://schemas.microsoft.com/office/drawing/2014/main" id="{DD20423E-DF50-4E20-B84D-6179997298C7}"/>
              </a:ext>
            </a:extLst>
          </p:cNvPr>
          <p:cNvCxnSpPr>
            <a:cxnSpLocks/>
          </p:cNvCxnSpPr>
          <p:nvPr/>
        </p:nvCxnSpPr>
        <p:spPr>
          <a:xfrm flipH="1">
            <a:off x="7365844" y="3088329"/>
            <a:ext cx="631678" cy="1071149"/>
          </a:xfrm>
          <a:prstGeom prst="straightConnector1">
            <a:avLst/>
          </a:prstGeom>
          <a:noFill/>
          <a:ln w="38100" cap="flat" cmpd="sng" algn="ctr">
            <a:solidFill>
              <a:srgbClr val="4ABDE5"/>
            </a:solidFill>
            <a:prstDash val="solid"/>
            <a:miter lim="800000"/>
            <a:headEnd type="arrow"/>
            <a:tailEnd type="arrow"/>
          </a:ln>
          <a:effectLst/>
        </p:spPr>
      </p:cxnSp>
      <p:cxnSp>
        <p:nvCxnSpPr>
          <p:cNvPr id="410" name="Straight Arrow Connector 409">
            <a:extLst>
              <a:ext uri="{FF2B5EF4-FFF2-40B4-BE49-F238E27FC236}">
                <a16:creationId xmlns:a16="http://schemas.microsoft.com/office/drawing/2014/main" id="{F3BA3646-666D-42D0-ACC6-5256BAF91DF5}"/>
              </a:ext>
            </a:extLst>
          </p:cNvPr>
          <p:cNvCxnSpPr>
            <a:cxnSpLocks/>
          </p:cNvCxnSpPr>
          <p:nvPr/>
        </p:nvCxnSpPr>
        <p:spPr>
          <a:xfrm flipH="1" flipV="1">
            <a:off x="9754952" y="2542061"/>
            <a:ext cx="956043" cy="2637"/>
          </a:xfrm>
          <a:prstGeom prst="straightConnector1">
            <a:avLst/>
          </a:prstGeom>
          <a:noFill/>
          <a:ln w="38100" cap="flat" cmpd="sng" algn="ctr">
            <a:solidFill>
              <a:srgbClr val="91D1ED">
                <a:alpha val="99000"/>
              </a:srgbClr>
            </a:solidFill>
            <a:prstDash val="solid"/>
            <a:miter lim="800000"/>
            <a:headEnd type="arrow"/>
            <a:tailEnd type="arrow"/>
          </a:ln>
          <a:effectLst/>
        </p:spPr>
      </p:cxnSp>
      <p:sp>
        <p:nvSpPr>
          <p:cNvPr id="411" name="TextBox 410">
            <a:extLst>
              <a:ext uri="{FF2B5EF4-FFF2-40B4-BE49-F238E27FC236}">
                <a16:creationId xmlns:a16="http://schemas.microsoft.com/office/drawing/2014/main" id="{86A44B1A-3C5D-4E23-86D5-9A22A586C9ED}"/>
              </a:ext>
            </a:extLst>
          </p:cNvPr>
          <p:cNvSpPr txBox="1"/>
          <p:nvPr/>
        </p:nvSpPr>
        <p:spPr>
          <a:xfrm>
            <a:off x="7088453" y="1449999"/>
            <a:ext cx="8338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On-</a:t>
            </a:r>
            <a:r>
              <a:rPr kumimoji="0" lang="en-SG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Prem</a:t>
            </a:r>
            <a:endParaRPr kumimoji="0" lang="en-SG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(Body)"/>
              <a:ea typeface="Verdana" panose="020B0604030504040204" pitchFamily="34" charset="0"/>
              <a:cs typeface="+mn-cs"/>
            </a:endParaRP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A40E5597-9654-4152-AEC3-3B0C449B577E}"/>
              </a:ext>
            </a:extLst>
          </p:cNvPr>
          <p:cNvSpPr txBox="1"/>
          <p:nvPr/>
        </p:nvSpPr>
        <p:spPr>
          <a:xfrm>
            <a:off x="10478613" y="1012977"/>
            <a:ext cx="915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000" b="0" i="0" u="none" strike="noStrike" kern="0" cap="none" spc="0" normalizeH="0" baseline="0" noProof="0" dirty="0">
                <a:ln>
                  <a:noFill/>
                </a:ln>
                <a:solidFill>
                  <a:srgbClr val="DD642A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Firewall</a:t>
            </a:r>
          </a:p>
        </p:txBody>
      </p:sp>
      <p:grpSp>
        <p:nvGrpSpPr>
          <p:cNvPr id="413" name="Group 412">
            <a:extLst>
              <a:ext uri="{FF2B5EF4-FFF2-40B4-BE49-F238E27FC236}">
                <a16:creationId xmlns:a16="http://schemas.microsoft.com/office/drawing/2014/main" id="{DADD39BD-55A2-49F5-9A76-8CE10DAF5B4A}"/>
              </a:ext>
            </a:extLst>
          </p:cNvPr>
          <p:cNvGrpSpPr/>
          <p:nvPr/>
        </p:nvGrpSpPr>
        <p:grpSpPr>
          <a:xfrm>
            <a:off x="4587462" y="2838483"/>
            <a:ext cx="1768997" cy="337155"/>
            <a:chOff x="3708006" y="2028365"/>
            <a:chExt cx="1070438" cy="258477"/>
          </a:xfrm>
        </p:grpSpPr>
        <p:sp>
          <p:nvSpPr>
            <p:cNvPr id="501" name="Arrow: Left 188">
              <a:extLst>
                <a:ext uri="{FF2B5EF4-FFF2-40B4-BE49-F238E27FC236}">
                  <a16:creationId xmlns:a16="http://schemas.microsoft.com/office/drawing/2014/main" id="{674D5A65-CCD6-4576-A223-3DE5B6F57856}"/>
                </a:ext>
              </a:extLst>
            </p:cNvPr>
            <p:cNvSpPr/>
            <p:nvPr/>
          </p:nvSpPr>
          <p:spPr>
            <a:xfrm>
              <a:off x="3708006" y="2035509"/>
              <a:ext cx="340907" cy="251333"/>
            </a:xfrm>
            <a:prstGeom prst="lef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gradFill flip="none" rotWithShape="1">
                <a:gsLst>
                  <a:gs pos="0">
                    <a:srgbClr val="FFFFFF">
                      <a:lumMod val="67000"/>
                    </a:srgbClr>
                  </a:gs>
                  <a:gs pos="48000">
                    <a:srgbClr val="FFFFFF">
                      <a:lumMod val="97000"/>
                      <a:lumOff val="3000"/>
                    </a:srgbClr>
                  </a:gs>
                  <a:gs pos="100000">
                    <a:srgbClr val="FFFFFF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G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sp>
          <p:nvSpPr>
            <p:cNvPr id="502" name="Arrow: Left 189">
              <a:extLst>
                <a:ext uri="{FF2B5EF4-FFF2-40B4-BE49-F238E27FC236}">
                  <a16:creationId xmlns:a16="http://schemas.microsoft.com/office/drawing/2014/main" id="{B523D34C-FF3F-4239-BE67-3B183DA0C877}"/>
                </a:ext>
              </a:extLst>
            </p:cNvPr>
            <p:cNvSpPr/>
            <p:nvPr/>
          </p:nvSpPr>
          <p:spPr>
            <a:xfrm rot="10800000">
              <a:off x="4437537" y="2028365"/>
              <a:ext cx="340907" cy="251333"/>
            </a:xfrm>
            <a:prstGeom prst="lef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gradFill flip="none" rotWithShape="1">
                <a:gsLst>
                  <a:gs pos="0">
                    <a:srgbClr val="FFFFFF">
                      <a:lumMod val="67000"/>
                    </a:srgbClr>
                  </a:gs>
                  <a:gs pos="48000">
                    <a:srgbClr val="FFFFFF">
                      <a:lumMod val="97000"/>
                      <a:lumOff val="3000"/>
                    </a:srgbClr>
                  </a:gs>
                  <a:gs pos="100000">
                    <a:srgbClr val="FFFFFF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SG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1427AAC8-8A31-460B-B5D7-2442DF4FFC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0321" y="2094643"/>
              <a:ext cx="445809" cy="5721"/>
            </a:xfrm>
            <a:prstGeom prst="line">
              <a:avLst/>
            </a:prstGeom>
            <a:solidFill>
              <a:srgbClr val="2C1F56"/>
            </a:solidFill>
            <a:ln w="12700" cap="flat" cmpd="sng" algn="ctr">
              <a:gradFill flip="none" rotWithShape="1">
                <a:gsLst>
                  <a:gs pos="0">
                    <a:srgbClr val="FFFFFF">
                      <a:lumMod val="67000"/>
                    </a:srgbClr>
                  </a:gs>
                  <a:gs pos="48000">
                    <a:srgbClr val="FFFFFF">
                      <a:lumMod val="97000"/>
                      <a:lumOff val="3000"/>
                    </a:srgbClr>
                  </a:gs>
                  <a:gs pos="100000">
                    <a:srgbClr val="FFFFFF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prstDash val="sysDash"/>
              <a:miter lim="800000"/>
            </a:ln>
            <a:effectLst/>
          </p:spPr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B78A97A7-AC6E-4294-B01E-A2190C7712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5782" y="2213453"/>
              <a:ext cx="445809" cy="5721"/>
            </a:xfrm>
            <a:prstGeom prst="line">
              <a:avLst/>
            </a:prstGeom>
            <a:solidFill>
              <a:srgbClr val="2C1F56"/>
            </a:solidFill>
            <a:ln w="12700" cap="flat" cmpd="sng" algn="ctr">
              <a:gradFill flip="none" rotWithShape="1">
                <a:gsLst>
                  <a:gs pos="0">
                    <a:srgbClr val="FFFFFF">
                      <a:lumMod val="67000"/>
                    </a:srgbClr>
                  </a:gs>
                  <a:gs pos="48000">
                    <a:srgbClr val="FFFFFF">
                      <a:lumMod val="97000"/>
                      <a:lumOff val="3000"/>
                    </a:srgbClr>
                  </a:gs>
                  <a:gs pos="100000">
                    <a:srgbClr val="FFFFFF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prstDash val="sysDash"/>
              <a:miter lim="800000"/>
            </a:ln>
            <a:effectLst/>
          </p:spPr>
        </p:cxnSp>
      </p:grpSp>
      <p:sp>
        <p:nvSpPr>
          <p:cNvPr id="414" name="TextBox 413">
            <a:extLst>
              <a:ext uri="{FF2B5EF4-FFF2-40B4-BE49-F238E27FC236}">
                <a16:creationId xmlns:a16="http://schemas.microsoft.com/office/drawing/2014/main" id="{A45CBACC-C2C0-4F40-A982-A30ACDE38C34}"/>
              </a:ext>
            </a:extLst>
          </p:cNvPr>
          <p:cNvSpPr txBox="1"/>
          <p:nvPr/>
        </p:nvSpPr>
        <p:spPr>
          <a:xfrm>
            <a:off x="4873165" y="2598942"/>
            <a:ext cx="119135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iPaaS Vs On-</a:t>
            </a:r>
            <a:r>
              <a:rPr kumimoji="0" lang="en-SG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Prem</a:t>
            </a:r>
            <a:endParaRPr kumimoji="0" lang="en-SG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(Body)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415" name="Graphic 198" descr="Arrow: U-turn">
            <a:extLst>
              <a:ext uri="{FF2B5EF4-FFF2-40B4-BE49-F238E27FC236}">
                <a16:creationId xmlns:a16="http://schemas.microsoft.com/office/drawing/2014/main" id="{69DDAC04-2215-46FC-95FB-9465978FA9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195516" y="5416917"/>
            <a:ext cx="402566" cy="408358"/>
          </a:xfrm>
          <a:prstGeom prst="rect">
            <a:avLst/>
          </a:prstGeom>
        </p:spPr>
      </p:pic>
      <p:pic>
        <p:nvPicPr>
          <p:cNvPr id="416" name="Graphic 199" descr="Arrow: U-turn">
            <a:extLst>
              <a:ext uri="{FF2B5EF4-FFF2-40B4-BE49-F238E27FC236}">
                <a16:creationId xmlns:a16="http://schemas.microsoft.com/office/drawing/2014/main" id="{F36BA9FC-2C04-49BC-91BE-69D527F337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031691" y="5179257"/>
            <a:ext cx="402566" cy="408358"/>
          </a:xfrm>
          <a:prstGeom prst="rect">
            <a:avLst/>
          </a:prstGeom>
        </p:spPr>
      </p:pic>
      <p:grpSp>
        <p:nvGrpSpPr>
          <p:cNvPr id="418" name="Group 417">
            <a:extLst>
              <a:ext uri="{FF2B5EF4-FFF2-40B4-BE49-F238E27FC236}">
                <a16:creationId xmlns:a16="http://schemas.microsoft.com/office/drawing/2014/main" id="{1CD78F7C-B60B-4516-A1FB-D1522B79B35B}"/>
              </a:ext>
            </a:extLst>
          </p:cNvPr>
          <p:cNvGrpSpPr/>
          <p:nvPr/>
        </p:nvGrpSpPr>
        <p:grpSpPr>
          <a:xfrm>
            <a:off x="2235572" y="4384263"/>
            <a:ext cx="564442" cy="615194"/>
            <a:chOff x="3235438" y="1184641"/>
            <a:chExt cx="444851" cy="494134"/>
          </a:xfrm>
        </p:grpSpPr>
        <p:sp>
          <p:nvSpPr>
            <p:cNvPr id="491" name="Oval 490">
              <a:extLst>
                <a:ext uri="{FF2B5EF4-FFF2-40B4-BE49-F238E27FC236}">
                  <a16:creationId xmlns:a16="http://schemas.microsoft.com/office/drawing/2014/main" id="{119D717C-A3A1-4921-A099-101C89428920}"/>
                </a:ext>
              </a:extLst>
            </p:cNvPr>
            <p:cNvSpPr/>
            <p:nvPr/>
          </p:nvSpPr>
          <p:spPr>
            <a:xfrm>
              <a:off x="3242039" y="1246618"/>
              <a:ext cx="438250" cy="432157"/>
            </a:xfrm>
            <a:prstGeom prst="ellipse">
              <a:avLst/>
            </a:prstGeom>
            <a:noFill/>
            <a:ln w="1905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94FD7CA-2FCC-4DB3-BC28-5143920B9CC2}"/>
                </a:ext>
              </a:extLst>
            </p:cNvPr>
            <p:cNvGrpSpPr/>
            <p:nvPr/>
          </p:nvGrpSpPr>
          <p:grpSpPr>
            <a:xfrm>
              <a:off x="3235438" y="1184641"/>
              <a:ext cx="144639" cy="142628"/>
              <a:chOff x="4979567" y="3043922"/>
              <a:chExt cx="275764" cy="275764"/>
            </a:xfrm>
          </p:grpSpPr>
          <p:sp>
            <p:nvSpPr>
              <p:cNvPr id="494" name="Oval 493">
                <a:extLst>
                  <a:ext uri="{FF2B5EF4-FFF2-40B4-BE49-F238E27FC236}">
                    <a16:creationId xmlns:a16="http://schemas.microsoft.com/office/drawing/2014/main" id="{78D791EF-17A6-4775-B5EC-906C9D013F99}"/>
                  </a:ext>
                </a:extLst>
              </p:cNvPr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rgbClr val="323E48"/>
              </a:solidFill>
              <a:ln w="6350" cap="flat" cmpd="sng" algn="ctr">
                <a:solidFill>
                  <a:srgbClr val="FF6D7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grpSp>
            <p:nvGrpSpPr>
              <p:cNvPr id="495" name="Group 494">
                <a:extLst>
                  <a:ext uri="{FF2B5EF4-FFF2-40B4-BE49-F238E27FC236}">
                    <a16:creationId xmlns:a16="http://schemas.microsoft.com/office/drawing/2014/main" id="{5877751C-8B4C-433D-BA5B-E9A6ACB7D47E}"/>
                  </a:ext>
                </a:extLst>
              </p:cNvPr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496" name="Rectangle 177">
                  <a:extLst>
                    <a:ext uri="{FF2B5EF4-FFF2-40B4-BE49-F238E27FC236}">
                      <a16:creationId xmlns:a16="http://schemas.microsoft.com/office/drawing/2014/main" id="{9227F3A2-D662-46FA-8719-8101E4924A69}"/>
                    </a:ext>
                  </a:extLst>
                </p:cNvPr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  <p:sp>
              <p:nvSpPr>
                <p:cNvPr id="497" name="Oval 178">
                  <a:extLst>
                    <a:ext uri="{FF2B5EF4-FFF2-40B4-BE49-F238E27FC236}">
                      <a16:creationId xmlns:a16="http://schemas.microsoft.com/office/drawing/2014/main" id="{9BFED38A-CD72-45A4-9D7A-D699E80AA114}"/>
                    </a:ext>
                  </a:extLst>
                </p:cNvPr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93" name="Rectangle 190">
              <a:extLst>
                <a:ext uri="{FF2B5EF4-FFF2-40B4-BE49-F238E27FC236}">
                  <a16:creationId xmlns:a16="http://schemas.microsoft.com/office/drawing/2014/main" id="{E74EB7CF-2577-4B65-B788-E867008D3782}"/>
                </a:ext>
              </a:extLst>
            </p:cNvPr>
            <p:cNvSpPr/>
            <p:nvPr/>
          </p:nvSpPr>
          <p:spPr>
            <a:xfrm>
              <a:off x="3292829" y="1341111"/>
              <a:ext cx="336669" cy="233588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FF6D7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155BB40D-956A-4BF2-B6C4-71EA9A1FAD35}"/>
              </a:ext>
            </a:extLst>
          </p:cNvPr>
          <p:cNvGrpSpPr/>
          <p:nvPr/>
        </p:nvGrpSpPr>
        <p:grpSpPr>
          <a:xfrm>
            <a:off x="3931690" y="4553568"/>
            <a:ext cx="564442" cy="615194"/>
            <a:chOff x="3235438" y="1184641"/>
            <a:chExt cx="444851" cy="494134"/>
          </a:xfrm>
        </p:grpSpPr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9093C818-0D74-4EA4-9012-E8C66690C5E2}"/>
                </a:ext>
              </a:extLst>
            </p:cNvPr>
            <p:cNvSpPr/>
            <p:nvPr/>
          </p:nvSpPr>
          <p:spPr>
            <a:xfrm>
              <a:off x="3242039" y="1246618"/>
              <a:ext cx="438250" cy="432157"/>
            </a:xfrm>
            <a:prstGeom prst="ellipse">
              <a:avLst/>
            </a:prstGeom>
            <a:noFill/>
            <a:ln w="1905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1FFE939A-62F4-4874-ACDB-A516A91D62FF}"/>
                </a:ext>
              </a:extLst>
            </p:cNvPr>
            <p:cNvGrpSpPr/>
            <p:nvPr/>
          </p:nvGrpSpPr>
          <p:grpSpPr>
            <a:xfrm>
              <a:off x="3235438" y="1184641"/>
              <a:ext cx="144639" cy="142628"/>
              <a:chOff x="4979567" y="3043922"/>
              <a:chExt cx="275764" cy="275764"/>
            </a:xfrm>
          </p:grpSpPr>
          <p:sp>
            <p:nvSpPr>
              <p:cNvPr id="487" name="Oval 486">
                <a:extLst>
                  <a:ext uri="{FF2B5EF4-FFF2-40B4-BE49-F238E27FC236}">
                    <a16:creationId xmlns:a16="http://schemas.microsoft.com/office/drawing/2014/main" id="{2B4A7B24-24F6-4E9B-8125-C6217595E6E1}"/>
                  </a:ext>
                </a:extLst>
              </p:cNvPr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rgbClr val="323E48"/>
              </a:solidFill>
              <a:ln w="6350" cap="flat" cmpd="sng" algn="ctr">
                <a:solidFill>
                  <a:srgbClr val="FF6D7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grpSp>
            <p:nvGrpSpPr>
              <p:cNvPr id="488" name="Group 487">
                <a:extLst>
                  <a:ext uri="{FF2B5EF4-FFF2-40B4-BE49-F238E27FC236}">
                    <a16:creationId xmlns:a16="http://schemas.microsoft.com/office/drawing/2014/main" id="{7D31D656-8F3A-4DD7-B549-B01F2720DAE6}"/>
                  </a:ext>
                </a:extLst>
              </p:cNvPr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489" name="Rectangle 177">
                  <a:extLst>
                    <a:ext uri="{FF2B5EF4-FFF2-40B4-BE49-F238E27FC236}">
                      <a16:creationId xmlns:a16="http://schemas.microsoft.com/office/drawing/2014/main" id="{2CB02983-CF25-4CE8-B604-EA3666894C98}"/>
                    </a:ext>
                  </a:extLst>
                </p:cNvPr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  <p:sp>
              <p:nvSpPr>
                <p:cNvPr id="490" name="Oval 178">
                  <a:extLst>
                    <a:ext uri="{FF2B5EF4-FFF2-40B4-BE49-F238E27FC236}">
                      <a16:creationId xmlns:a16="http://schemas.microsoft.com/office/drawing/2014/main" id="{D716BA8D-FBD6-4F3D-8F8B-795059BA717A}"/>
                    </a:ext>
                  </a:extLst>
                </p:cNvPr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86" name="Rectangle 190">
              <a:extLst>
                <a:ext uri="{FF2B5EF4-FFF2-40B4-BE49-F238E27FC236}">
                  <a16:creationId xmlns:a16="http://schemas.microsoft.com/office/drawing/2014/main" id="{599B97E5-F0DF-4251-AB1D-1AC7FE3BFF3A}"/>
                </a:ext>
              </a:extLst>
            </p:cNvPr>
            <p:cNvSpPr/>
            <p:nvPr/>
          </p:nvSpPr>
          <p:spPr>
            <a:xfrm>
              <a:off x="3292829" y="1341111"/>
              <a:ext cx="336669" cy="233588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FF6D7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BB876E73-911E-4D49-B357-7A7904233590}"/>
              </a:ext>
            </a:extLst>
          </p:cNvPr>
          <p:cNvGrpSpPr/>
          <p:nvPr/>
        </p:nvGrpSpPr>
        <p:grpSpPr>
          <a:xfrm>
            <a:off x="577499" y="899886"/>
            <a:ext cx="5948121" cy="205577"/>
            <a:chOff x="5653350" y="521406"/>
            <a:chExt cx="4994626" cy="157604"/>
          </a:xfrm>
        </p:grpSpPr>
        <p:grpSp>
          <p:nvGrpSpPr>
            <p:cNvPr id="472" name="Group 471">
              <a:extLst>
                <a:ext uri="{FF2B5EF4-FFF2-40B4-BE49-F238E27FC236}">
                  <a16:creationId xmlns:a16="http://schemas.microsoft.com/office/drawing/2014/main" id="{B2816BF3-A794-43B1-9913-D49D846736AD}"/>
                </a:ext>
              </a:extLst>
            </p:cNvPr>
            <p:cNvGrpSpPr/>
            <p:nvPr/>
          </p:nvGrpSpPr>
          <p:grpSpPr>
            <a:xfrm>
              <a:off x="8897166" y="521406"/>
              <a:ext cx="1750810" cy="153370"/>
              <a:chOff x="13985205" y="1489110"/>
              <a:chExt cx="2334414" cy="204494"/>
            </a:xfrm>
          </p:grpSpPr>
          <p:cxnSp>
            <p:nvCxnSpPr>
              <p:cNvPr id="481" name="Straight Arrow Connector 480">
                <a:extLst>
                  <a:ext uri="{FF2B5EF4-FFF2-40B4-BE49-F238E27FC236}">
                    <a16:creationId xmlns:a16="http://schemas.microsoft.com/office/drawing/2014/main" id="{589F3BE9-AB1C-454F-9B7A-A4AAB0D5E7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985205" y="1623072"/>
                <a:ext cx="303076" cy="10252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9D51A0"/>
                </a:solidFill>
                <a:prstDash val="solid"/>
                <a:miter lim="800000"/>
                <a:tailEnd type="arrow"/>
              </a:ln>
              <a:effectLst/>
            </p:spPr>
          </p:cxnSp>
          <p:sp>
            <p:nvSpPr>
              <p:cNvPr id="482" name="Oval 481">
                <a:extLst>
                  <a:ext uri="{FF2B5EF4-FFF2-40B4-BE49-F238E27FC236}">
                    <a16:creationId xmlns:a16="http://schemas.microsoft.com/office/drawing/2014/main" id="{A3B1DDF9-A134-47A2-AD6B-D92FC018D4A3}"/>
                  </a:ext>
                </a:extLst>
              </p:cNvPr>
              <p:cNvSpPr/>
              <p:nvPr/>
            </p:nvSpPr>
            <p:spPr>
              <a:xfrm>
                <a:off x="14086165" y="1583184"/>
                <a:ext cx="108615" cy="108615"/>
              </a:xfrm>
              <a:prstGeom prst="ellipse">
                <a:avLst/>
              </a:prstGeom>
              <a:solidFill>
                <a:srgbClr val="9D51A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83" name="TextBox 482">
                <a:extLst>
                  <a:ext uri="{FF2B5EF4-FFF2-40B4-BE49-F238E27FC236}">
                    <a16:creationId xmlns:a16="http://schemas.microsoft.com/office/drawing/2014/main" id="{24D3F0A5-2BC2-453B-BBCB-9DC716A93133}"/>
                  </a:ext>
                </a:extLst>
              </p:cNvPr>
              <p:cNvSpPr txBox="1"/>
              <p:nvPr/>
            </p:nvSpPr>
            <p:spPr>
              <a:xfrm>
                <a:off x="14369309" y="1489110"/>
                <a:ext cx="1950310" cy="204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7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9D51A0"/>
                    </a:solidFill>
                    <a:effectLst/>
                    <a:uLnTx/>
                    <a:uFillTx/>
                    <a:latin typeface="Roboto (Body)"/>
                    <a:ea typeface="+mn-ea"/>
                    <a:cs typeface="Calibri"/>
                  </a:rPr>
                  <a:t>Status &amp; Logs (HTTPS)</a:t>
                </a:r>
                <a:endParaRPr kumimoji="0" lang="de-D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9D51A0"/>
                  </a:solidFill>
                  <a:effectLst/>
                  <a:uLnTx/>
                  <a:uFillTx/>
                  <a:latin typeface="Roboto (Body)"/>
                  <a:ea typeface="+mn-ea"/>
                  <a:cs typeface="Calibri"/>
                </a:endParaRPr>
              </a:p>
            </p:txBody>
          </p:sp>
        </p:grpSp>
        <p:grpSp>
          <p:nvGrpSpPr>
            <p:cNvPr id="473" name="Group 472">
              <a:extLst>
                <a:ext uri="{FF2B5EF4-FFF2-40B4-BE49-F238E27FC236}">
                  <a16:creationId xmlns:a16="http://schemas.microsoft.com/office/drawing/2014/main" id="{79908516-2E9D-4B3D-9CA8-1855105D034D}"/>
                </a:ext>
              </a:extLst>
            </p:cNvPr>
            <p:cNvGrpSpPr/>
            <p:nvPr/>
          </p:nvGrpSpPr>
          <p:grpSpPr>
            <a:xfrm>
              <a:off x="5653350" y="525640"/>
              <a:ext cx="1750809" cy="153370"/>
              <a:chOff x="9708783" y="1471224"/>
              <a:chExt cx="2334412" cy="204494"/>
            </a:xfrm>
          </p:grpSpPr>
          <p:cxnSp>
            <p:nvCxnSpPr>
              <p:cNvPr id="478" name="Straight Arrow Connector 477">
                <a:extLst>
                  <a:ext uri="{FF2B5EF4-FFF2-40B4-BE49-F238E27FC236}">
                    <a16:creationId xmlns:a16="http://schemas.microsoft.com/office/drawing/2014/main" id="{B43D04BD-FA1B-4BF7-85F8-DC827A76A96F}"/>
                  </a:ext>
                </a:extLst>
              </p:cNvPr>
              <p:cNvCxnSpPr/>
              <p:nvPr/>
            </p:nvCxnSpPr>
            <p:spPr>
              <a:xfrm flipH="1">
                <a:off x="9708783" y="1615434"/>
                <a:ext cx="364540" cy="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B6D330"/>
                </a:solidFill>
                <a:prstDash val="solid"/>
                <a:miter lim="800000"/>
                <a:tailEnd type="arrow"/>
              </a:ln>
              <a:effectLst/>
            </p:spPr>
          </p:cxnSp>
          <p:sp>
            <p:nvSpPr>
              <p:cNvPr id="479" name="Oval 478">
                <a:extLst>
                  <a:ext uri="{FF2B5EF4-FFF2-40B4-BE49-F238E27FC236}">
                    <a16:creationId xmlns:a16="http://schemas.microsoft.com/office/drawing/2014/main" id="{44BCF94C-AAF7-42C8-A1AD-C44E51E50840}"/>
                  </a:ext>
                </a:extLst>
              </p:cNvPr>
              <p:cNvSpPr/>
              <p:nvPr/>
            </p:nvSpPr>
            <p:spPr>
              <a:xfrm>
                <a:off x="9796658" y="1565297"/>
                <a:ext cx="108615" cy="108615"/>
              </a:xfrm>
              <a:prstGeom prst="ellipse">
                <a:avLst/>
              </a:prstGeom>
              <a:solidFill>
                <a:srgbClr val="B6D330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80" name="TextBox 479">
                <a:extLst>
                  <a:ext uri="{FF2B5EF4-FFF2-40B4-BE49-F238E27FC236}">
                    <a16:creationId xmlns:a16="http://schemas.microsoft.com/office/drawing/2014/main" id="{263A383A-E20A-4090-B583-72D67F0CE43B}"/>
                  </a:ext>
                </a:extLst>
              </p:cNvPr>
              <p:cNvSpPr txBox="1"/>
              <p:nvPr/>
            </p:nvSpPr>
            <p:spPr>
              <a:xfrm>
                <a:off x="10092886" y="1471224"/>
                <a:ext cx="1950309" cy="204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7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B6D330">
                        <a:lumMod val="75000"/>
                      </a:srgbClr>
                    </a:solidFill>
                    <a:effectLst/>
                    <a:uLnTx/>
                    <a:uFillTx/>
                    <a:latin typeface="Roboto (Body)"/>
                    <a:ea typeface="+mn-ea"/>
                    <a:cs typeface="Calibri"/>
                  </a:rPr>
                  <a:t>Customer data in transit</a:t>
                </a:r>
                <a:endParaRPr kumimoji="0" lang="de-D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B6D330">
                      <a:lumMod val="75000"/>
                    </a:srgbClr>
                  </a:solidFill>
                  <a:effectLst/>
                  <a:uLnTx/>
                  <a:uFillTx/>
                  <a:latin typeface="Roboto (Body)"/>
                  <a:ea typeface="+mn-ea"/>
                  <a:cs typeface="Calibri"/>
                </a:endParaRPr>
              </a:p>
            </p:txBody>
          </p:sp>
        </p:grpSp>
        <p:grpSp>
          <p:nvGrpSpPr>
            <p:cNvPr id="474" name="Group 473">
              <a:extLst>
                <a:ext uri="{FF2B5EF4-FFF2-40B4-BE49-F238E27FC236}">
                  <a16:creationId xmlns:a16="http://schemas.microsoft.com/office/drawing/2014/main" id="{FFD1B1B6-4C8C-47D9-BEA1-75967DB6C7A5}"/>
                </a:ext>
              </a:extLst>
            </p:cNvPr>
            <p:cNvGrpSpPr/>
            <p:nvPr/>
          </p:nvGrpSpPr>
          <p:grpSpPr>
            <a:xfrm>
              <a:off x="7161267" y="526216"/>
              <a:ext cx="1846271" cy="145749"/>
              <a:chOff x="9499622" y="1178773"/>
              <a:chExt cx="2461694" cy="194332"/>
            </a:xfrm>
          </p:grpSpPr>
          <p:cxnSp>
            <p:nvCxnSpPr>
              <p:cNvPr id="475" name="Straight Arrow Connector 474">
                <a:extLst>
                  <a:ext uri="{FF2B5EF4-FFF2-40B4-BE49-F238E27FC236}">
                    <a16:creationId xmlns:a16="http://schemas.microsoft.com/office/drawing/2014/main" id="{87CEE120-5079-4EC4-B04F-1EF95784C72F}"/>
                  </a:ext>
                </a:extLst>
              </p:cNvPr>
              <p:cNvCxnSpPr/>
              <p:nvPr/>
            </p:nvCxnSpPr>
            <p:spPr>
              <a:xfrm flipH="1">
                <a:off x="9499622" y="1314626"/>
                <a:ext cx="364540" cy="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4ABDE5"/>
                </a:solidFill>
                <a:prstDash val="solid"/>
                <a:miter lim="800000"/>
                <a:tailEnd type="arrow"/>
              </a:ln>
              <a:effectLst/>
            </p:spPr>
          </p:cxnSp>
          <p:sp>
            <p:nvSpPr>
              <p:cNvPr id="476" name="Oval 475">
                <a:extLst>
                  <a:ext uri="{FF2B5EF4-FFF2-40B4-BE49-F238E27FC236}">
                    <a16:creationId xmlns:a16="http://schemas.microsoft.com/office/drawing/2014/main" id="{018DA9C7-0C3E-4D9B-9FBD-86194D6A2B83}"/>
                  </a:ext>
                </a:extLst>
              </p:cNvPr>
              <p:cNvSpPr/>
              <p:nvPr/>
            </p:nvSpPr>
            <p:spPr>
              <a:xfrm>
                <a:off x="9796658" y="1264490"/>
                <a:ext cx="108615" cy="108615"/>
              </a:xfrm>
              <a:prstGeom prst="ellipse">
                <a:avLst/>
              </a:prstGeom>
              <a:solidFill>
                <a:srgbClr val="4ABDE5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77" name="TextBox 476">
                <a:extLst>
                  <a:ext uri="{FF2B5EF4-FFF2-40B4-BE49-F238E27FC236}">
                    <a16:creationId xmlns:a16="http://schemas.microsoft.com/office/drawing/2014/main" id="{07DDD667-E341-45C2-A6E6-88962ED02EE9}"/>
                  </a:ext>
                </a:extLst>
              </p:cNvPr>
              <p:cNvSpPr txBox="1"/>
              <p:nvPr/>
            </p:nvSpPr>
            <p:spPr>
              <a:xfrm>
                <a:off x="9883724" y="1178773"/>
                <a:ext cx="2077592" cy="1934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74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ABDE5"/>
                    </a:solidFill>
                    <a:effectLst/>
                    <a:uLnTx/>
                    <a:uFillTx/>
                    <a:latin typeface="Roboto (Body)"/>
                    <a:ea typeface="+mn-ea"/>
                    <a:cs typeface="Calibri"/>
                  </a:rPr>
                  <a:t>Metadata in transit(HTTPS)</a:t>
                </a:r>
                <a:endParaRPr kumimoji="0" lang="de-D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4ABDE5"/>
                  </a:solidFill>
                  <a:effectLst/>
                  <a:uLnTx/>
                  <a:uFillTx/>
                  <a:latin typeface="Roboto (Body)"/>
                  <a:ea typeface="+mn-ea"/>
                  <a:cs typeface="Calibri"/>
                </a:endParaRPr>
              </a:p>
            </p:txBody>
          </p:sp>
        </p:grp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4C8E4CC8-A201-4D8D-B464-CBDC1E18DAF2}"/>
              </a:ext>
            </a:extLst>
          </p:cNvPr>
          <p:cNvGrpSpPr/>
          <p:nvPr/>
        </p:nvGrpSpPr>
        <p:grpSpPr>
          <a:xfrm>
            <a:off x="6677340" y="4172885"/>
            <a:ext cx="1236777" cy="933855"/>
            <a:chOff x="1736568" y="3505341"/>
            <a:chExt cx="961806" cy="715932"/>
          </a:xfrm>
        </p:grpSpPr>
        <p:sp>
          <p:nvSpPr>
            <p:cNvPr id="469" name="Rectangle 468">
              <a:extLst>
                <a:ext uri="{FF2B5EF4-FFF2-40B4-BE49-F238E27FC236}">
                  <a16:creationId xmlns:a16="http://schemas.microsoft.com/office/drawing/2014/main" id="{F65D379D-8499-4751-98FD-B5BB3D462B77}"/>
                </a:ext>
              </a:extLst>
            </p:cNvPr>
            <p:cNvSpPr/>
            <p:nvPr/>
          </p:nvSpPr>
          <p:spPr>
            <a:xfrm>
              <a:off x="1736568" y="4043602"/>
              <a:ext cx="961806" cy="1776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rPr>
                <a:t>Talend Studio</a:t>
              </a:r>
            </a:p>
          </p:txBody>
        </p:sp>
        <p:sp>
          <p:nvSpPr>
            <p:cNvPr id="470" name="Oval 469">
              <a:extLst>
                <a:ext uri="{FF2B5EF4-FFF2-40B4-BE49-F238E27FC236}">
                  <a16:creationId xmlns:a16="http://schemas.microsoft.com/office/drawing/2014/main" id="{210B89B3-F255-4060-AE40-99BA4FF808FF}"/>
                </a:ext>
              </a:extLst>
            </p:cNvPr>
            <p:cNvSpPr/>
            <p:nvPr/>
          </p:nvSpPr>
          <p:spPr>
            <a:xfrm>
              <a:off x="1927715" y="3505341"/>
              <a:ext cx="567269" cy="567269"/>
            </a:xfrm>
            <a:prstGeom prst="ellipse">
              <a:avLst/>
            </a:prstGeom>
            <a:noFill/>
            <a:ln w="1270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pic>
          <p:nvPicPr>
            <p:cNvPr id="471" name="Picture 470">
              <a:extLst>
                <a:ext uri="{FF2B5EF4-FFF2-40B4-BE49-F238E27FC236}">
                  <a16:creationId xmlns:a16="http://schemas.microsoft.com/office/drawing/2014/main" id="{61A8C30E-7935-4D58-A48D-57BC88CDB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2005679" y="3577584"/>
              <a:ext cx="403565" cy="405584"/>
            </a:xfrm>
            <a:prstGeom prst="rect">
              <a:avLst/>
            </a:prstGeom>
          </p:spPr>
        </p:pic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E8CA33A4-48BD-4DE2-8DAE-FD7A9A401AF5}"/>
              </a:ext>
            </a:extLst>
          </p:cNvPr>
          <p:cNvGrpSpPr/>
          <p:nvPr/>
        </p:nvGrpSpPr>
        <p:grpSpPr>
          <a:xfrm>
            <a:off x="8337196" y="4095121"/>
            <a:ext cx="564442" cy="615194"/>
            <a:chOff x="3235438" y="1184641"/>
            <a:chExt cx="444851" cy="494134"/>
          </a:xfrm>
        </p:grpSpPr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F949071E-2BAF-4F79-8662-9827CDB5E3A9}"/>
                </a:ext>
              </a:extLst>
            </p:cNvPr>
            <p:cNvSpPr/>
            <p:nvPr/>
          </p:nvSpPr>
          <p:spPr>
            <a:xfrm>
              <a:off x="3242039" y="1246618"/>
              <a:ext cx="438250" cy="432157"/>
            </a:xfrm>
            <a:prstGeom prst="ellipse">
              <a:avLst/>
            </a:prstGeom>
            <a:noFill/>
            <a:ln w="1905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grpSp>
          <p:nvGrpSpPr>
            <p:cNvPr id="463" name="Group 462">
              <a:extLst>
                <a:ext uri="{FF2B5EF4-FFF2-40B4-BE49-F238E27FC236}">
                  <a16:creationId xmlns:a16="http://schemas.microsoft.com/office/drawing/2014/main" id="{D1C1349B-71D2-4D87-BE88-D8EB073F4B0F}"/>
                </a:ext>
              </a:extLst>
            </p:cNvPr>
            <p:cNvGrpSpPr/>
            <p:nvPr/>
          </p:nvGrpSpPr>
          <p:grpSpPr>
            <a:xfrm>
              <a:off x="3235438" y="1184641"/>
              <a:ext cx="144639" cy="142628"/>
              <a:chOff x="4979567" y="3043922"/>
              <a:chExt cx="275764" cy="275764"/>
            </a:xfrm>
          </p:grpSpPr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1CF07DF5-48DF-487A-927A-F24732EF590B}"/>
                  </a:ext>
                </a:extLst>
              </p:cNvPr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rgbClr val="323E48"/>
              </a:solidFill>
              <a:ln w="6350" cap="flat" cmpd="sng" algn="ctr">
                <a:solidFill>
                  <a:srgbClr val="FF6D7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grpSp>
            <p:nvGrpSpPr>
              <p:cNvPr id="466" name="Group 465">
                <a:extLst>
                  <a:ext uri="{FF2B5EF4-FFF2-40B4-BE49-F238E27FC236}">
                    <a16:creationId xmlns:a16="http://schemas.microsoft.com/office/drawing/2014/main" id="{D01A3C48-8A89-4CA4-A426-894C4C972E23}"/>
                  </a:ext>
                </a:extLst>
              </p:cNvPr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467" name="Rectangle 177">
                  <a:extLst>
                    <a:ext uri="{FF2B5EF4-FFF2-40B4-BE49-F238E27FC236}">
                      <a16:creationId xmlns:a16="http://schemas.microsoft.com/office/drawing/2014/main" id="{FD657C42-52CC-411D-AAF8-C1AF4D3D858B}"/>
                    </a:ext>
                  </a:extLst>
                </p:cNvPr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Oval 178">
                  <a:extLst>
                    <a:ext uri="{FF2B5EF4-FFF2-40B4-BE49-F238E27FC236}">
                      <a16:creationId xmlns:a16="http://schemas.microsoft.com/office/drawing/2014/main" id="{F4095A03-C125-4AB6-B787-0BD80C64D981}"/>
                    </a:ext>
                  </a:extLst>
                </p:cNvPr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64" name="Rectangle 190">
              <a:extLst>
                <a:ext uri="{FF2B5EF4-FFF2-40B4-BE49-F238E27FC236}">
                  <a16:creationId xmlns:a16="http://schemas.microsoft.com/office/drawing/2014/main" id="{AC3305E6-5499-4C63-B821-14B2D2AAAE94}"/>
                </a:ext>
              </a:extLst>
            </p:cNvPr>
            <p:cNvSpPr/>
            <p:nvPr/>
          </p:nvSpPr>
          <p:spPr>
            <a:xfrm>
              <a:off x="3292829" y="1341111"/>
              <a:ext cx="336669" cy="233588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FF6D7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</p:grp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4C8D5F8B-2A8B-45A1-9075-BA8F33353933}"/>
              </a:ext>
            </a:extLst>
          </p:cNvPr>
          <p:cNvGrpSpPr/>
          <p:nvPr/>
        </p:nvGrpSpPr>
        <p:grpSpPr>
          <a:xfrm>
            <a:off x="9794753" y="4323131"/>
            <a:ext cx="564442" cy="615194"/>
            <a:chOff x="3235438" y="1184641"/>
            <a:chExt cx="444851" cy="494134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91AEEEAD-1F24-47E5-9CD5-6E06025C33BA}"/>
                </a:ext>
              </a:extLst>
            </p:cNvPr>
            <p:cNvSpPr/>
            <p:nvPr/>
          </p:nvSpPr>
          <p:spPr>
            <a:xfrm>
              <a:off x="3242039" y="1246618"/>
              <a:ext cx="438250" cy="432157"/>
            </a:xfrm>
            <a:prstGeom prst="ellipse">
              <a:avLst/>
            </a:prstGeom>
            <a:noFill/>
            <a:ln w="1905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EE1BD5D3-9580-4B5F-9571-E56AC552218F}"/>
                </a:ext>
              </a:extLst>
            </p:cNvPr>
            <p:cNvGrpSpPr/>
            <p:nvPr/>
          </p:nvGrpSpPr>
          <p:grpSpPr>
            <a:xfrm>
              <a:off x="3235438" y="1184641"/>
              <a:ext cx="144639" cy="142628"/>
              <a:chOff x="4979567" y="3043922"/>
              <a:chExt cx="275764" cy="275764"/>
            </a:xfrm>
          </p:grpSpPr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54C07517-1B10-473A-8F63-3E7856E90604}"/>
                  </a:ext>
                </a:extLst>
              </p:cNvPr>
              <p:cNvSpPr/>
              <p:nvPr/>
            </p:nvSpPr>
            <p:spPr>
              <a:xfrm>
                <a:off x="4979567" y="3043922"/>
                <a:ext cx="275764" cy="275764"/>
              </a:xfrm>
              <a:prstGeom prst="ellipse">
                <a:avLst/>
              </a:prstGeom>
              <a:solidFill>
                <a:srgbClr val="323E48"/>
              </a:solidFill>
              <a:ln w="6350" cap="flat" cmpd="sng" algn="ctr">
                <a:solidFill>
                  <a:srgbClr val="FF6D7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grpSp>
            <p:nvGrpSpPr>
              <p:cNvPr id="459" name="Group 458">
                <a:extLst>
                  <a:ext uri="{FF2B5EF4-FFF2-40B4-BE49-F238E27FC236}">
                    <a16:creationId xmlns:a16="http://schemas.microsoft.com/office/drawing/2014/main" id="{CA93292C-9FDB-4445-8094-EAE5F8C699D6}"/>
                  </a:ext>
                </a:extLst>
              </p:cNvPr>
              <p:cNvGrpSpPr/>
              <p:nvPr/>
            </p:nvGrpSpPr>
            <p:grpSpPr>
              <a:xfrm>
                <a:off x="5065627" y="3096404"/>
                <a:ext cx="105052" cy="163787"/>
                <a:chOff x="10890554" y="2242548"/>
                <a:chExt cx="648384" cy="1010893"/>
              </a:xfrm>
            </p:grpSpPr>
            <p:sp>
              <p:nvSpPr>
                <p:cNvPr id="460" name="Rectangle 177">
                  <a:extLst>
                    <a:ext uri="{FF2B5EF4-FFF2-40B4-BE49-F238E27FC236}">
                      <a16:creationId xmlns:a16="http://schemas.microsoft.com/office/drawing/2014/main" id="{8D609CE6-3031-4167-94B9-D8FBFFA08B0B}"/>
                    </a:ext>
                  </a:extLst>
                </p:cNvPr>
                <p:cNvSpPr/>
                <p:nvPr/>
              </p:nvSpPr>
              <p:spPr>
                <a:xfrm>
                  <a:off x="10890554" y="2242548"/>
                  <a:ext cx="648384" cy="101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384" h="1010893">
                      <a:moveTo>
                        <a:pt x="324192" y="121633"/>
                      </a:moveTo>
                      <a:cubicBezTo>
                        <a:pt x="273809" y="121633"/>
                        <a:pt x="230582" y="152265"/>
                        <a:pt x="212117" y="195921"/>
                      </a:cubicBezTo>
                      <a:lnTo>
                        <a:pt x="204439" y="233952"/>
                      </a:lnTo>
                      <a:lnTo>
                        <a:pt x="204585" y="233952"/>
                      </a:lnTo>
                      <a:lnTo>
                        <a:pt x="204585" y="362509"/>
                      </a:lnTo>
                      <a:lnTo>
                        <a:pt x="443799" y="362509"/>
                      </a:lnTo>
                      <a:lnTo>
                        <a:pt x="443799" y="233952"/>
                      </a:lnTo>
                      <a:lnTo>
                        <a:pt x="443945" y="233952"/>
                      </a:lnTo>
                      <a:lnTo>
                        <a:pt x="436267" y="195921"/>
                      </a:lnTo>
                      <a:cubicBezTo>
                        <a:pt x="417802" y="152265"/>
                        <a:pt x="374575" y="121633"/>
                        <a:pt x="324192" y="121633"/>
                      </a:cubicBezTo>
                      <a:close/>
                      <a:moveTo>
                        <a:pt x="324192" y="0"/>
                      </a:moveTo>
                      <a:cubicBezTo>
                        <a:pt x="441751" y="0"/>
                        <a:pt x="539833" y="83387"/>
                        <a:pt x="562517" y="194240"/>
                      </a:cubicBezTo>
                      <a:lnTo>
                        <a:pt x="566520" y="233952"/>
                      </a:lnTo>
                      <a:lnTo>
                        <a:pt x="567459" y="233952"/>
                      </a:lnTo>
                      <a:lnTo>
                        <a:pt x="567459" y="243267"/>
                      </a:lnTo>
                      <a:lnTo>
                        <a:pt x="567459" y="367989"/>
                      </a:lnTo>
                      <a:lnTo>
                        <a:pt x="582382" y="371002"/>
                      </a:lnTo>
                      <a:cubicBezTo>
                        <a:pt x="621169" y="387407"/>
                        <a:pt x="648384" y="425813"/>
                        <a:pt x="648384" y="470575"/>
                      </a:cubicBezTo>
                      <a:lnTo>
                        <a:pt x="648384" y="902827"/>
                      </a:lnTo>
                      <a:cubicBezTo>
                        <a:pt x="648384" y="962510"/>
                        <a:pt x="600001" y="1010893"/>
                        <a:pt x="540318" y="1010893"/>
                      </a:cubicBezTo>
                      <a:lnTo>
                        <a:pt x="108066" y="1010893"/>
                      </a:lnTo>
                      <a:cubicBezTo>
                        <a:pt x="48383" y="1010893"/>
                        <a:pt x="0" y="962510"/>
                        <a:pt x="0" y="902827"/>
                      </a:cubicBezTo>
                      <a:lnTo>
                        <a:pt x="0" y="470575"/>
                      </a:lnTo>
                      <a:cubicBezTo>
                        <a:pt x="0" y="425813"/>
                        <a:pt x="27215" y="387407"/>
                        <a:pt x="66002" y="371002"/>
                      </a:cubicBezTo>
                      <a:lnTo>
                        <a:pt x="80925" y="367989"/>
                      </a:lnTo>
                      <a:lnTo>
                        <a:pt x="80925" y="243267"/>
                      </a:lnTo>
                      <a:lnTo>
                        <a:pt x="80925" y="233952"/>
                      </a:lnTo>
                      <a:lnTo>
                        <a:pt x="81864" y="233952"/>
                      </a:lnTo>
                      <a:lnTo>
                        <a:pt x="85867" y="194240"/>
                      </a:lnTo>
                      <a:cubicBezTo>
                        <a:pt x="108551" y="83387"/>
                        <a:pt x="206633" y="0"/>
                        <a:pt x="324192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Oval 178">
                  <a:extLst>
                    <a:ext uri="{FF2B5EF4-FFF2-40B4-BE49-F238E27FC236}">
                      <a16:creationId xmlns:a16="http://schemas.microsoft.com/office/drawing/2014/main" id="{D521D15A-9711-4804-A908-E20850576B68}"/>
                    </a:ext>
                  </a:extLst>
                </p:cNvPr>
                <p:cNvSpPr/>
                <p:nvPr/>
              </p:nvSpPr>
              <p:spPr>
                <a:xfrm>
                  <a:off x="11119496" y="2736886"/>
                  <a:ext cx="190500" cy="338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0" h="338788">
                      <a:moveTo>
                        <a:pt x="95250" y="0"/>
                      </a:moveTo>
                      <a:cubicBezTo>
                        <a:pt x="147855" y="0"/>
                        <a:pt x="190500" y="42645"/>
                        <a:pt x="190500" y="95250"/>
                      </a:cubicBezTo>
                      <a:cubicBezTo>
                        <a:pt x="190500" y="121553"/>
                        <a:pt x="179839" y="145365"/>
                        <a:pt x="162602" y="162602"/>
                      </a:cubicBezTo>
                      <a:lnTo>
                        <a:pt x="138923" y="178567"/>
                      </a:lnTo>
                      <a:lnTo>
                        <a:pt x="165704" y="338788"/>
                      </a:lnTo>
                      <a:lnTo>
                        <a:pt x="24797" y="338788"/>
                      </a:lnTo>
                      <a:lnTo>
                        <a:pt x="51578" y="178568"/>
                      </a:lnTo>
                      <a:lnTo>
                        <a:pt x="27898" y="162602"/>
                      </a:lnTo>
                      <a:cubicBezTo>
                        <a:pt x="10661" y="145365"/>
                        <a:pt x="0" y="121553"/>
                        <a:pt x="0" y="95250"/>
                      </a:cubicBezTo>
                      <a:cubicBezTo>
                        <a:pt x="0" y="42645"/>
                        <a:pt x="42645" y="0"/>
                        <a:pt x="95250" y="0"/>
                      </a:cubicBezTo>
                      <a:close/>
                    </a:path>
                  </a:pathLst>
                </a:custGeom>
                <a:solidFill>
                  <a:srgbClr val="F8F3EF"/>
                </a:solidFill>
                <a:ln w="6350" cap="flat" cmpd="sng" algn="ctr">
                  <a:solidFill>
                    <a:srgbClr val="FF6D7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8F3EF"/>
                    </a:solidFill>
                    <a:effectLst/>
                    <a:uLnTx/>
                    <a:uFillTx/>
                    <a:latin typeface="Roboto (Body)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57" name="Rectangle 190">
              <a:extLst>
                <a:ext uri="{FF2B5EF4-FFF2-40B4-BE49-F238E27FC236}">
                  <a16:creationId xmlns:a16="http://schemas.microsoft.com/office/drawing/2014/main" id="{E7F60F40-517D-41B2-9308-594678AC885F}"/>
                </a:ext>
              </a:extLst>
            </p:cNvPr>
            <p:cNvSpPr/>
            <p:nvPr/>
          </p:nvSpPr>
          <p:spPr>
            <a:xfrm>
              <a:off x="3292829" y="1341111"/>
              <a:ext cx="336669" cy="233588"/>
            </a:xfrm>
            <a:custGeom>
              <a:avLst/>
              <a:gdLst/>
              <a:ahLst/>
              <a:cxnLst/>
              <a:rect l="l" t="t" r="r" b="b"/>
              <a:pathLst>
                <a:path w="827268" h="582069">
                  <a:moveTo>
                    <a:pt x="299833" y="0"/>
                  </a:moveTo>
                  <a:lnTo>
                    <a:pt x="610201" y="0"/>
                  </a:lnTo>
                  <a:lnTo>
                    <a:pt x="610201" y="74271"/>
                  </a:lnTo>
                  <a:lnTo>
                    <a:pt x="503254" y="74271"/>
                  </a:lnTo>
                  <a:lnTo>
                    <a:pt x="503254" y="112329"/>
                  </a:lnTo>
                  <a:lnTo>
                    <a:pt x="712152" y="112329"/>
                  </a:lnTo>
                  <a:lnTo>
                    <a:pt x="712152" y="263659"/>
                  </a:lnTo>
                  <a:lnTo>
                    <a:pt x="712152" y="305409"/>
                  </a:lnTo>
                  <a:lnTo>
                    <a:pt x="757531" y="305409"/>
                  </a:lnTo>
                  <a:lnTo>
                    <a:pt x="757531" y="212570"/>
                  </a:lnTo>
                  <a:lnTo>
                    <a:pt x="827268" y="212570"/>
                  </a:lnTo>
                  <a:lnTo>
                    <a:pt x="827268" y="479945"/>
                  </a:lnTo>
                  <a:lnTo>
                    <a:pt x="757531" y="479945"/>
                  </a:lnTo>
                  <a:lnTo>
                    <a:pt x="757531" y="390821"/>
                  </a:lnTo>
                  <a:lnTo>
                    <a:pt x="712152" y="390821"/>
                  </a:lnTo>
                  <a:lnTo>
                    <a:pt x="712152" y="435382"/>
                  </a:lnTo>
                  <a:lnTo>
                    <a:pt x="712152" y="439096"/>
                  </a:lnTo>
                  <a:lnTo>
                    <a:pt x="708882" y="439096"/>
                  </a:lnTo>
                  <a:lnTo>
                    <a:pt x="583001" y="582069"/>
                  </a:lnTo>
                  <a:lnTo>
                    <a:pt x="291266" y="582069"/>
                  </a:lnTo>
                  <a:lnTo>
                    <a:pt x="184853" y="478265"/>
                  </a:lnTo>
                  <a:lnTo>
                    <a:pt x="184853" y="479945"/>
                  </a:lnTo>
                  <a:lnTo>
                    <a:pt x="115116" y="479945"/>
                  </a:lnTo>
                  <a:lnTo>
                    <a:pt x="115116" y="390821"/>
                  </a:lnTo>
                  <a:lnTo>
                    <a:pt x="69737" y="390821"/>
                  </a:lnTo>
                  <a:lnTo>
                    <a:pt x="69737" y="479945"/>
                  </a:lnTo>
                  <a:lnTo>
                    <a:pt x="0" y="479945"/>
                  </a:lnTo>
                  <a:lnTo>
                    <a:pt x="0" y="212570"/>
                  </a:lnTo>
                  <a:lnTo>
                    <a:pt x="69737" y="212570"/>
                  </a:lnTo>
                  <a:lnTo>
                    <a:pt x="69737" y="305409"/>
                  </a:lnTo>
                  <a:lnTo>
                    <a:pt x="115116" y="305409"/>
                  </a:lnTo>
                  <a:lnTo>
                    <a:pt x="115116" y="212570"/>
                  </a:lnTo>
                  <a:lnTo>
                    <a:pt x="184853" y="212570"/>
                  </a:lnTo>
                  <a:lnTo>
                    <a:pt x="184853" y="215197"/>
                  </a:lnTo>
                  <a:lnTo>
                    <a:pt x="299250" y="114374"/>
                  </a:lnTo>
                  <a:lnTo>
                    <a:pt x="299833" y="114374"/>
                  </a:lnTo>
                  <a:lnTo>
                    <a:pt x="299833" y="112329"/>
                  </a:lnTo>
                  <a:lnTo>
                    <a:pt x="417842" y="112329"/>
                  </a:lnTo>
                  <a:lnTo>
                    <a:pt x="417842" y="74271"/>
                  </a:lnTo>
                  <a:lnTo>
                    <a:pt x="299833" y="74271"/>
                  </a:lnTo>
                  <a:close/>
                </a:path>
              </a:pathLst>
            </a:custGeom>
            <a:solidFill>
              <a:srgbClr val="FF6D7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</p:grp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89A8B72C-1141-44FF-8310-2F7919F2E2F9}"/>
              </a:ext>
            </a:extLst>
          </p:cNvPr>
          <p:cNvGrpSpPr/>
          <p:nvPr/>
        </p:nvGrpSpPr>
        <p:grpSpPr>
          <a:xfrm>
            <a:off x="1706714" y="5771506"/>
            <a:ext cx="1599900" cy="847007"/>
            <a:chOff x="1162471" y="4276941"/>
            <a:chExt cx="1244196" cy="649350"/>
          </a:xfrm>
        </p:grpSpPr>
        <p:sp>
          <p:nvSpPr>
            <p:cNvPr id="450" name="Oval 78">
              <a:extLst>
                <a:ext uri="{FF2B5EF4-FFF2-40B4-BE49-F238E27FC236}">
                  <a16:creationId xmlns:a16="http://schemas.microsoft.com/office/drawing/2014/main" id="{4BDC2EBF-985E-492E-896D-B04920330A96}"/>
                </a:ext>
              </a:extLst>
            </p:cNvPr>
            <p:cNvSpPr/>
            <p:nvPr/>
          </p:nvSpPr>
          <p:spPr>
            <a:xfrm>
              <a:off x="1164494" y="4280378"/>
              <a:ext cx="1242173" cy="448157"/>
            </a:xfrm>
            <a:custGeom>
              <a:avLst/>
              <a:gdLst/>
              <a:ahLst/>
              <a:cxnLst/>
              <a:rect l="l" t="t" r="r" b="b"/>
              <a:pathLst>
                <a:path w="1946710" h="735239">
                  <a:moveTo>
                    <a:pt x="367619" y="0"/>
                  </a:moveTo>
                  <a:lnTo>
                    <a:pt x="367629" y="1"/>
                  </a:lnTo>
                  <a:lnTo>
                    <a:pt x="1579081" y="1"/>
                  </a:lnTo>
                  <a:lnTo>
                    <a:pt x="1579091" y="0"/>
                  </a:lnTo>
                  <a:cubicBezTo>
                    <a:pt x="1782121" y="0"/>
                    <a:pt x="1946710" y="164589"/>
                    <a:pt x="1946710" y="367619"/>
                  </a:cubicBezTo>
                  <a:cubicBezTo>
                    <a:pt x="1946710" y="570649"/>
                    <a:pt x="1782121" y="735238"/>
                    <a:pt x="1579091" y="735238"/>
                  </a:cubicBezTo>
                  <a:lnTo>
                    <a:pt x="1579090" y="735238"/>
                  </a:lnTo>
                  <a:lnTo>
                    <a:pt x="1579090" y="735239"/>
                  </a:lnTo>
                  <a:lnTo>
                    <a:pt x="359264" y="735239"/>
                  </a:lnTo>
                  <a:lnTo>
                    <a:pt x="359264" y="734396"/>
                  </a:lnTo>
                  <a:lnTo>
                    <a:pt x="293531" y="727770"/>
                  </a:lnTo>
                  <a:cubicBezTo>
                    <a:pt x="126013" y="693490"/>
                    <a:pt x="0" y="545270"/>
                    <a:pt x="0" y="367619"/>
                  </a:cubicBezTo>
                  <a:cubicBezTo>
                    <a:pt x="0" y="189968"/>
                    <a:pt x="126013" y="41748"/>
                    <a:pt x="293531" y="7469"/>
                  </a:cubicBezTo>
                  <a:lnTo>
                    <a:pt x="359264" y="843"/>
                  </a:lnTo>
                  <a:lnTo>
                    <a:pt x="359264" y="1"/>
                  </a:lnTo>
                  <a:lnTo>
                    <a:pt x="367609" y="1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FFFFFF">
                  <a:lumMod val="8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B60C1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51" name="Rectangle 450">
              <a:extLst>
                <a:ext uri="{FF2B5EF4-FFF2-40B4-BE49-F238E27FC236}">
                  <a16:creationId xmlns:a16="http://schemas.microsoft.com/office/drawing/2014/main" id="{44F571A5-8E43-4674-A6F9-8812E9BD4E4E}"/>
                </a:ext>
              </a:extLst>
            </p:cNvPr>
            <p:cNvSpPr/>
            <p:nvPr/>
          </p:nvSpPr>
          <p:spPr>
            <a:xfrm>
              <a:off x="1162471" y="4748620"/>
              <a:ext cx="1224886" cy="1776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rPr>
                <a:t>On-premises Apps &amp; Databases</a:t>
              </a:r>
            </a:p>
          </p:txBody>
        </p:sp>
        <p:pic>
          <p:nvPicPr>
            <p:cNvPr id="452" name="Graphic 69" descr="Database">
              <a:extLst>
                <a:ext uri="{FF2B5EF4-FFF2-40B4-BE49-F238E27FC236}">
                  <a16:creationId xmlns:a16="http://schemas.microsoft.com/office/drawing/2014/main" id="{7FC814AC-50DC-46C7-95F4-51259AB442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253171" y="4276941"/>
              <a:ext cx="448157" cy="448157"/>
            </a:xfrm>
            <a:prstGeom prst="rect">
              <a:avLst/>
            </a:prstGeom>
          </p:spPr>
        </p:pic>
        <p:pic>
          <p:nvPicPr>
            <p:cNvPr id="453" name="Graphic 255" descr="Database">
              <a:extLst>
                <a:ext uri="{FF2B5EF4-FFF2-40B4-BE49-F238E27FC236}">
                  <a16:creationId xmlns:a16="http://schemas.microsoft.com/office/drawing/2014/main" id="{0BE97313-A2E0-49C0-B312-3C7F9D47E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576193" y="4283815"/>
              <a:ext cx="448157" cy="448157"/>
            </a:xfrm>
            <a:prstGeom prst="rect">
              <a:avLst/>
            </a:prstGeom>
          </p:spPr>
        </p:pic>
        <p:pic>
          <p:nvPicPr>
            <p:cNvPr id="454" name="Graphic 256" descr="Database">
              <a:extLst>
                <a:ext uri="{FF2B5EF4-FFF2-40B4-BE49-F238E27FC236}">
                  <a16:creationId xmlns:a16="http://schemas.microsoft.com/office/drawing/2014/main" id="{DCEA927B-26EB-4D5F-825A-39D461444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910766" y="4276941"/>
              <a:ext cx="448157" cy="448157"/>
            </a:xfrm>
            <a:prstGeom prst="rect">
              <a:avLst/>
            </a:prstGeom>
          </p:spPr>
        </p:pic>
      </p:grpSp>
      <p:pic>
        <p:nvPicPr>
          <p:cNvPr id="425" name="Picture 424">
            <a:extLst>
              <a:ext uri="{FF2B5EF4-FFF2-40B4-BE49-F238E27FC236}">
                <a16:creationId xmlns:a16="http://schemas.microsoft.com/office/drawing/2014/main" id="{BF91EBB3-51A8-4F10-97D4-38F85A941F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38629" y="950990"/>
            <a:ext cx="886758" cy="801894"/>
          </a:xfrm>
          <a:prstGeom prst="rect">
            <a:avLst/>
          </a:prstGeom>
        </p:spPr>
      </p:pic>
      <p:grpSp>
        <p:nvGrpSpPr>
          <p:cNvPr id="426" name="Group 425">
            <a:extLst>
              <a:ext uri="{FF2B5EF4-FFF2-40B4-BE49-F238E27FC236}">
                <a16:creationId xmlns:a16="http://schemas.microsoft.com/office/drawing/2014/main" id="{ED66DF37-2151-42BA-9344-48B1984D8527}"/>
              </a:ext>
            </a:extLst>
          </p:cNvPr>
          <p:cNvGrpSpPr/>
          <p:nvPr/>
        </p:nvGrpSpPr>
        <p:grpSpPr>
          <a:xfrm>
            <a:off x="7829612" y="5589292"/>
            <a:ext cx="1599900" cy="847007"/>
            <a:chOff x="1162471" y="4276941"/>
            <a:chExt cx="1244196" cy="649350"/>
          </a:xfrm>
        </p:grpSpPr>
        <p:sp>
          <p:nvSpPr>
            <p:cNvPr id="445" name="Oval 78">
              <a:extLst>
                <a:ext uri="{FF2B5EF4-FFF2-40B4-BE49-F238E27FC236}">
                  <a16:creationId xmlns:a16="http://schemas.microsoft.com/office/drawing/2014/main" id="{D2CAFC0D-0C27-4B5F-A697-D9788D1B7AFD}"/>
                </a:ext>
              </a:extLst>
            </p:cNvPr>
            <p:cNvSpPr/>
            <p:nvPr/>
          </p:nvSpPr>
          <p:spPr>
            <a:xfrm>
              <a:off x="1164494" y="4280378"/>
              <a:ext cx="1242173" cy="448157"/>
            </a:xfrm>
            <a:custGeom>
              <a:avLst/>
              <a:gdLst/>
              <a:ahLst/>
              <a:cxnLst/>
              <a:rect l="l" t="t" r="r" b="b"/>
              <a:pathLst>
                <a:path w="1946710" h="735239">
                  <a:moveTo>
                    <a:pt x="367619" y="0"/>
                  </a:moveTo>
                  <a:lnTo>
                    <a:pt x="367629" y="1"/>
                  </a:lnTo>
                  <a:lnTo>
                    <a:pt x="1579081" y="1"/>
                  </a:lnTo>
                  <a:lnTo>
                    <a:pt x="1579091" y="0"/>
                  </a:lnTo>
                  <a:cubicBezTo>
                    <a:pt x="1782121" y="0"/>
                    <a:pt x="1946710" y="164589"/>
                    <a:pt x="1946710" y="367619"/>
                  </a:cubicBezTo>
                  <a:cubicBezTo>
                    <a:pt x="1946710" y="570649"/>
                    <a:pt x="1782121" y="735238"/>
                    <a:pt x="1579091" y="735238"/>
                  </a:cubicBezTo>
                  <a:lnTo>
                    <a:pt x="1579090" y="735238"/>
                  </a:lnTo>
                  <a:lnTo>
                    <a:pt x="1579090" y="735239"/>
                  </a:lnTo>
                  <a:lnTo>
                    <a:pt x="359264" y="735239"/>
                  </a:lnTo>
                  <a:lnTo>
                    <a:pt x="359264" y="734396"/>
                  </a:lnTo>
                  <a:lnTo>
                    <a:pt x="293531" y="727770"/>
                  </a:lnTo>
                  <a:cubicBezTo>
                    <a:pt x="126013" y="693490"/>
                    <a:pt x="0" y="545270"/>
                    <a:pt x="0" y="367619"/>
                  </a:cubicBezTo>
                  <a:cubicBezTo>
                    <a:pt x="0" y="189968"/>
                    <a:pt x="126013" y="41748"/>
                    <a:pt x="293531" y="7469"/>
                  </a:cubicBezTo>
                  <a:lnTo>
                    <a:pt x="359264" y="843"/>
                  </a:lnTo>
                  <a:lnTo>
                    <a:pt x="359264" y="1"/>
                  </a:lnTo>
                  <a:lnTo>
                    <a:pt x="367609" y="1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FFFFFF">
                  <a:lumMod val="8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B60C1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6" name="Rectangle 445">
              <a:extLst>
                <a:ext uri="{FF2B5EF4-FFF2-40B4-BE49-F238E27FC236}">
                  <a16:creationId xmlns:a16="http://schemas.microsoft.com/office/drawing/2014/main" id="{B06336C6-3F6D-4DCE-BFC7-6D6C930ED87F}"/>
                </a:ext>
              </a:extLst>
            </p:cNvPr>
            <p:cNvSpPr/>
            <p:nvPr/>
          </p:nvSpPr>
          <p:spPr>
            <a:xfrm>
              <a:off x="1162471" y="4748620"/>
              <a:ext cx="1224886" cy="1776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F8F3EF"/>
                  </a:solidFill>
                  <a:effectLst/>
                  <a:uLnTx/>
                  <a:uFillTx/>
                  <a:latin typeface="Roboto (Body)"/>
                  <a:ea typeface="Verdana" panose="020B0604030504040204" pitchFamily="34" charset="0"/>
                  <a:cs typeface="+mn-cs"/>
                </a:rPr>
                <a:t>On-premises Apps &amp; Databases</a:t>
              </a:r>
            </a:p>
          </p:txBody>
        </p:sp>
        <p:pic>
          <p:nvPicPr>
            <p:cNvPr id="447" name="Graphic 262" descr="Database">
              <a:extLst>
                <a:ext uri="{FF2B5EF4-FFF2-40B4-BE49-F238E27FC236}">
                  <a16:creationId xmlns:a16="http://schemas.microsoft.com/office/drawing/2014/main" id="{7B5B8A0C-0E3F-43A8-91D5-34AFF3D00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253171" y="4276941"/>
              <a:ext cx="448157" cy="448157"/>
            </a:xfrm>
            <a:prstGeom prst="rect">
              <a:avLst/>
            </a:prstGeom>
          </p:spPr>
        </p:pic>
        <p:pic>
          <p:nvPicPr>
            <p:cNvPr id="448" name="Graphic 263" descr="Database">
              <a:extLst>
                <a:ext uri="{FF2B5EF4-FFF2-40B4-BE49-F238E27FC236}">
                  <a16:creationId xmlns:a16="http://schemas.microsoft.com/office/drawing/2014/main" id="{97008406-81AF-40FB-9B6E-90ED9C3E2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576193" y="4283815"/>
              <a:ext cx="448157" cy="448157"/>
            </a:xfrm>
            <a:prstGeom prst="rect">
              <a:avLst/>
            </a:prstGeom>
          </p:spPr>
        </p:pic>
        <p:pic>
          <p:nvPicPr>
            <p:cNvPr id="449" name="Graphic 264" descr="Database">
              <a:extLst>
                <a:ext uri="{FF2B5EF4-FFF2-40B4-BE49-F238E27FC236}">
                  <a16:creationId xmlns:a16="http://schemas.microsoft.com/office/drawing/2014/main" id="{D2A12C95-2FF0-45F3-9CEE-7DFC2D35E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910766" y="4276941"/>
              <a:ext cx="448157" cy="448157"/>
            </a:xfrm>
            <a:prstGeom prst="rect">
              <a:avLst/>
            </a:prstGeom>
          </p:spPr>
        </p:pic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44817FFC-EFBC-49EF-B40E-C5118D41A18C}"/>
              </a:ext>
            </a:extLst>
          </p:cNvPr>
          <p:cNvGrpSpPr/>
          <p:nvPr/>
        </p:nvGrpSpPr>
        <p:grpSpPr>
          <a:xfrm>
            <a:off x="1000547" y="1361697"/>
            <a:ext cx="3473784" cy="1924263"/>
            <a:chOff x="613305" y="896200"/>
            <a:chExt cx="2701462" cy="1475219"/>
          </a:xfrm>
          <a:solidFill>
            <a:schemeClr val="bg1"/>
          </a:solidFill>
        </p:grpSpPr>
        <p:sp>
          <p:nvSpPr>
            <p:cNvPr id="428" name="Oval 12">
              <a:extLst>
                <a:ext uri="{FF2B5EF4-FFF2-40B4-BE49-F238E27FC236}">
                  <a16:creationId xmlns:a16="http://schemas.microsoft.com/office/drawing/2014/main" id="{75F098FA-4077-4B59-A38C-B83E390A6291}"/>
                </a:ext>
              </a:extLst>
            </p:cNvPr>
            <p:cNvSpPr/>
            <p:nvPr/>
          </p:nvSpPr>
          <p:spPr>
            <a:xfrm>
              <a:off x="613305" y="896200"/>
              <a:ext cx="2701462" cy="1475219"/>
            </a:xfrm>
            <a:custGeom>
              <a:avLst/>
              <a:gdLst/>
              <a:ahLst/>
              <a:cxnLst/>
              <a:rect l="l" t="t" r="r" b="b"/>
              <a:pathLst>
                <a:path w="2423169" h="1581725">
                  <a:moveTo>
                    <a:pt x="1340898" y="0"/>
                  </a:moveTo>
                  <a:cubicBezTo>
                    <a:pt x="1583414" y="0"/>
                    <a:pt x="1785752" y="172023"/>
                    <a:pt x="1832547" y="400705"/>
                  </a:cubicBezTo>
                  <a:lnTo>
                    <a:pt x="1838752" y="462258"/>
                  </a:lnTo>
                  <a:lnTo>
                    <a:pt x="1876586" y="466072"/>
                  </a:lnTo>
                  <a:cubicBezTo>
                    <a:pt x="1987505" y="488770"/>
                    <a:pt x="2070943" y="586911"/>
                    <a:pt x="2070943" y="704541"/>
                  </a:cubicBezTo>
                  <a:lnTo>
                    <a:pt x="2064255" y="748781"/>
                  </a:lnTo>
                  <a:lnTo>
                    <a:pt x="2088191" y="751194"/>
                  </a:lnTo>
                  <a:cubicBezTo>
                    <a:pt x="2279363" y="790314"/>
                    <a:pt x="2423169" y="959462"/>
                    <a:pt x="2423169" y="1162198"/>
                  </a:cubicBezTo>
                  <a:cubicBezTo>
                    <a:pt x="2423169" y="1393896"/>
                    <a:pt x="2235340" y="1581725"/>
                    <a:pt x="2003642" y="1581725"/>
                  </a:cubicBezTo>
                  <a:lnTo>
                    <a:pt x="2002296" y="1581589"/>
                  </a:lnTo>
                  <a:lnTo>
                    <a:pt x="2002296" y="1581725"/>
                  </a:lnTo>
                  <a:lnTo>
                    <a:pt x="419528" y="1581725"/>
                  </a:lnTo>
                  <a:lnTo>
                    <a:pt x="419527" y="1581725"/>
                  </a:lnTo>
                  <a:cubicBezTo>
                    <a:pt x="187829" y="1581725"/>
                    <a:pt x="0" y="1393896"/>
                    <a:pt x="0" y="1162198"/>
                  </a:cubicBezTo>
                  <a:cubicBezTo>
                    <a:pt x="0" y="959462"/>
                    <a:pt x="143806" y="790314"/>
                    <a:pt x="334978" y="751194"/>
                  </a:cubicBezTo>
                  <a:lnTo>
                    <a:pt x="371631" y="747499"/>
                  </a:lnTo>
                  <a:lnTo>
                    <a:pt x="367413" y="733912"/>
                  </a:lnTo>
                  <a:cubicBezTo>
                    <a:pt x="362811" y="711422"/>
                    <a:pt x="360394" y="688136"/>
                    <a:pt x="360394" y="664285"/>
                  </a:cubicBezTo>
                  <a:cubicBezTo>
                    <a:pt x="360394" y="473481"/>
                    <a:pt x="515072" y="318803"/>
                    <a:pt x="705876" y="318803"/>
                  </a:cubicBezTo>
                  <a:cubicBezTo>
                    <a:pt x="735689" y="318803"/>
                    <a:pt x="764621" y="322579"/>
                    <a:pt x="792217" y="329680"/>
                  </a:cubicBezTo>
                  <a:lnTo>
                    <a:pt x="862690" y="357407"/>
                  </a:lnTo>
                  <a:lnTo>
                    <a:pt x="878492" y="306504"/>
                  </a:lnTo>
                  <a:cubicBezTo>
                    <a:pt x="954676" y="126384"/>
                    <a:pt x="1133027" y="0"/>
                    <a:pt x="1340898" y="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rgbClr val="FF6D70"/>
              </a:solidFill>
              <a:prstDash val="solid"/>
              <a:miter lim="800000"/>
            </a:ln>
            <a:effectLst>
              <a:glow rad="139700">
                <a:srgbClr val="FF6D7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(Body)"/>
                <a:ea typeface="+mn-ea"/>
                <a:cs typeface="PT Sans"/>
              </a:endParaRPr>
            </a:p>
          </p:txBody>
        </p:sp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A63EE164-94C0-4F66-AF45-1A6C5E0DF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745637" y="1092385"/>
              <a:ext cx="525934" cy="485072"/>
            </a:xfrm>
            <a:prstGeom prst="rect">
              <a:avLst/>
            </a:prstGeom>
            <a:grpFill/>
          </p:spPr>
        </p:pic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6EC5DF67-C3ED-4430-9FE7-7CDD45C1AB88}"/>
                </a:ext>
              </a:extLst>
            </p:cNvPr>
            <p:cNvGrpSpPr/>
            <p:nvPr/>
          </p:nvGrpSpPr>
          <p:grpSpPr>
            <a:xfrm>
              <a:off x="1019289" y="1698253"/>
              <a:ext cx="1874966" cy="583019"/>
              <a:chOff x="1795201" y="2261633"/>
              <a:chExt cx="3018819" cy="1171528"/>
            </a:xfrm>
            <a:grpFill/>
          </p:grpSpPr>
          <p:sp>
            <p:nvSpPr>
              <p:cNvPr id="439" name="Rectangle 438">
                <a:extLst>
                  <a:ext uri="{FF2B5EF4-FFF2-40B4-BE49-F238E27FC236}">
                    <a16:creationId xmlns:a16="http://schemas.microsoft.com/office/drawing/2014/main" id="{A74E9BC5-11FD-4633-93FE-6E11613D7704}"/>
                  </a:ext>
                </a:extLst>
              </p:cNvPr>
              <p:cNvSpPr/>
              <p:nvPr/>
            </p:nvSpPr>
            <p:spPr>
              <a:xfrm>
                <a:off x="1795201" y="2261633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40" name="Rectangle 439">
                <a:extLst>
                  <a:ext uri="{FF2B5EF4-FFF2-40B4-BE49-F238E27FC236}">
                    <a16:creationId xmlns:a16="http://schemas.microsoft.com/office/drawing/2014/main" id="{590B6CC5-F87B-402A-A5BE-C6E951E606DA}"/>
                  </a:ext>
                </a:extLst>
              </p:cNvPr>
              <p:cNvSpPr/>
              <p:nvPr/>
            </p:nvSpPr>
            <p:spPr>
              <a:xfrm>
                <a:off x="3346168" y="2261633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41" name="Rectangle 440">
                <a:extLst>
                  <a:ext uri="{FF2B5EF4-FFF2-40B4-BE49-F238E27FC236}">
                    <a16:creationId xmlns:a16="http://schemas.microsoft.com/office/drawing/2014/main" id="{AF98F60E-72FC-4741-9AD9-37FA8EB9D3B5}"/>
                  </a:ext>
                </a:extLst>
              </p:cNvPr>
              <p:cNvSpPr/>
              <p:nvPr/>
            </p:nvSpPr>
            <p:spPr>
              <a:xfrm>
                <a:off x="1795201" y="2678120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42" name="Rectangle 441">
                <a:extLst>
                  <a:ext uri="{FF2B5EF4-FFF2-40B4-BE49-F238E27FC236}">
                    <a16:creationId xmlns:a16="http://schemas.microsoft.com/office/drawing/2014/main" id="{8441D93E-D4AD-4C77-8FDE-E4FB945F46A7}"/>
                  </a:ext>
                </a:extLst>
              </p:cNvPr>
              <p:cNvSpPr/>
              <p:nvPr/>
            </p:nvSpPr>
            <p:spPr>
              <a:xfrm>
                <a:off x="3346168" y="2678120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43" name="Rectangle 442">
                <a:extLst>
                  <a:ext uri="{FF2B5EF4-FFF2-40B4-BE49-F238E27FC236}">
                    <a16:creationId xmlns:a16="http://schemas.microsoft.com/office/drawing/2014/main" id="{74FFA848-F18E-49FE-BF35-A0DD6CC1611F}"/>
                  </a:ext>
                </a:extLst>
              </p:cNvPr>
              <p:cNvSpPr/>
              <p:nvPr/>
            </p:nvSpPr>
            <p:spPr>
              <a:xfrm>
                <a:off x="1795201" y="3094607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  <p:sp>
            <p:nvSpPr>
              <p:cNvPr id="444" name="Rectangle 443">
                <a:extLst>
                  <a:ext uri="{FF2B5EF4-FFF2-40B4-BE49-F238E27FC236}">
                    <a16:creationId xmlns:a16="http://schemas.microsoft.com/office/drawing/2014/main" id="{CC1D8044-8103-42C6-B722-DEC5C925DB2B}"/>
                  </a:ext>
                </a:extLst>
              </p:cNvPr>
              <p:cNvSpPr/>
              <p:nvPr/>
            </p:nvSpPr>
            <p:spPr>
              <a:xfrm>
                <a:off x="3346168" y="3094607"/>
                <a:ext cx="1467852" cy="338554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7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70CF8799-3429-4FF6-9234-3767DEB9649C}"/>
              </a:ext>
            </a:extLst>
          </p:cNvPr>
          <p:cNvGrpSpPr/>
          <p:nvPr/>
        </p:nvGrpSpPr>
        <p:grpSpPr>
          <a:xfrm>
            <a:off x="1506259" y="2458507"/>
            <a:ext cx="2456140" cy="705606"/>
            <a:chOff x="1378573" y="2613414"/>
            <a:chExt cx="3211390" cy="1353661"/>
          </a:xfrm>
        </p:grpSpPr>
        <p:grpSp>
          <p:nvGrpSpPr>
            <p:cNvPr id="515" name="Group 514">
              <a:extLst>
                <a:ext uri="{FF2B5EF4-FFF2-40B4-BE49-F238E27FC236}">
                  <a16:creationId xmlns:a16="http://schemas.microsoft.com/office/drawing/2014/main" id="{EE8D23EF-50D8-4346-B620-1825F943466C}"/>
                </a:ext>
              </a:extLst>
            </p:cNvPr>
            <p:cNvGrpSpPr/>
            <p:nvPr/>
          </p:nvGrpSpPr>
          <p:grpSpPr>
            <a:xfrm>
              <a:off x="1477713" y="2705368"/>
              <a:ext cx="3018819" cy="1171528"/>
              <a:chOff x="1795201" y="2261633"/>
              <a:chExt cx="3018819" cy="1171528"/>
            </a:xfrm>
          </p:grpSpPr>
          <p:sp>
            <p:nvSpPr>
              <p:cNvPr id="523" name="Rectangle 522">
                <a:extLst>
                  <a:ext uri="{FF2B5EF4-FFF2-40B4-BE49-F238E27FC236}">
                    <a16:creationId xmlns:a16="http://schemas.microsoft.com/office/drawing/2014/main" id="{1DBEA067-24F5-4BF0-9A4A-B14B9D60BAA3}"/>
                  </a:ext>
                </a:extLst>
              </p:cNvPr>
              <p:cNvSpPr/>
              <p:nvPr/>
            </p:nvSpPr>
            <p:spPr>
              <a:xfrm>
                <a:off x="1795201" y="2261633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4" name="Rectangle 523">
                <a:extLst>
                  <a:ext uri="{FF2B5EF4-FFF2-40B4-BE49-F238E27FC236}">
                    <a16:creationId xmlns:a16="http://schemas.microsoft.com/office/drawing/2014/main" id="{F4105E5B-254D-49A2-BF50-492470B33D6B}"/>
                  </a:ext>
                </a:extLst>
              </p:cNvPr>
              <p:cNvSpPr/>
              <p:nvPr/>
            </p:nvSpPr>
            <p:spPr>
              <a:xfrm>
                <a:off x="3346168" y="2261633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5" name="Rectangle 524">
                <a:extLst>
                  <a:ext uri="{FF2B5EF4-FFF2-40B4-BE49-F238E27FC236}">
                    <a16:creationId xmlns:a16="http://schemas.microsoft.com/office/drawing/2014/main" id="{A08E883C-6F3F-435D-9594-1A1507AD5FB8}"/>
                  </a:ext>
                </a:extLst>
              </p:cNvPr>
              <p:cNvSpPr/>
              <p:nvPr/>
            </p:nvSpPr>
            <p:spPr>
              <a:xfrm>
                <a:off x="1795201" y="2678120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6" name="Rectangle 525">
                <a:extLst>
                  <a:ext uri="{FF2B5EF4-FFF2-40B4-BE49-F238E27FC236}">
                    <a16:creationId xmlns:a16="http://schemas.microsoft.com/office/drawing/2014/main" id="{93BE7C30-4FDD-4679-B296-2F8802BA1A4B}"/>
                  </a:ext>
                </a:extLst>
              </p:cNvPr>
              <p:cNvSpPr/>
              <p:nvPr/>
            </p:nvSpPr>
            <p:spPr>
              <a:xfrm>
                <a:off x="3346168" y="2678120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7" name="Rectangle 526">
                <a:extLst>
                  <a:ext uri="{FF2B5EF4-FFF2-40B4-BE49-F238E27FC236}">
                    <a16:creationId xmlns:a16="http://schemas.microsoft.com/office/drawing/2014/main" id="{E0CDB6D6-01DE-4184-A972-00A44FB9B068}"/>
                  </a:ext>
                </a:extLst>
              </p:cNvPr>
              <p:cNvSpPr/>
              <p:nvPr/>
            </p:nvSpPr>
            <p:spPr>
              <a:xfrm>
                <a:off x="1795201" y="3094607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8" name="Rectangle 527">
                <a:extLst>
                  <a:ext uri="{FF2B5EF4-FFF2-40B4-BE49-F238E27FC236}">
                    <a16:creationId xmlns:a16="http://schemas.microsoft.com/office/drawing/2014/main" id="{0618B8CC-8C6F-4152-AB65-C4E9099F16E5}"/>
                  </a:ext>
                </a:extLst>
              </p:cNvPr>
              <p:cNvSpPr/>
              <p:nvPr/>
            </p:nvSpPr>
            <p:spPr>
              <a:xfrm>
                <a:off x="3346168" y="3094607"/>
                <a:ext cx="1467852" cy="338554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sp>
          <p:nvSpPr>
            <p:cNvPr id="516" name="Rectangle 515">
              <a:extLst>
                <a:ext uri="{FF2B5EF4-FFF2-40B4-BE49-F238E27FC236}">
                  <a16:creationId xmlns:a16="http://schemas.microsoft.com/office/drawing/2014/main" id="{6299F1A7-F80B-4F55-B22B-C0AA85B85372}"/>
                </a:ext>
              </a:extLst>
            </p:cNvPr>
            <p:cNvSpPr/>
            <p:nvPr/>
          </p:nvSpPr>
          <p:spPr>
            <a:xfrm>
              <a:off x="1378573" y="2613414"/>
              <a:ext cx="3211390" cy="1353661"/>
            </a:xfrm>
            <a:prstGeom prst="rect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17" name="TextBox 516">
              <a:extLst>
                <a:ext uri="{FF2B5EF4-FFF2-40B4-BE49-F238E27FC236}">
                  <a16:creationId xmlns:a16="http://schemas.microsoft.com/office/drawing/2014/main" id="{AABDEF27-965B-4ECD-8A53-1A57C604D3E0}"/>
                </a:ext>
              </a:extLst>
            </p:cNvPr>
            <p:cNvSpPr txBox="1"/>
            <p:nvPr/>
          </p:nvSpPr>
          <p:spPr>
            <a:xfrm>
              <a:off x="1450143" y="2713044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Environments</a:t>
              </a:r>
            </a:p>
          </p:txBody>
        </p:sp>
        <p:sp>
          <p:nvSpPr>
            <p:cNvPr id="518" name="TextBox 517">
              <a:extLst>
                <a:ext uri="{FF2B5EF4-FFF2-40B4-BE49-F238E27FC236}">
                  <a16:creationId xmlns:a16="http://schemas.microsoft.com/office/drawing/2014/main" id="{19C17013-23DC-4EBC-8F99-3B831DCB34AB}"/>
                </a:ext>
              </a:extLst>
            </p:cNvPr>
            <p:cNvSpPr txBox="1"/>
            <p:nvPr/>
          </p:nvSpPr>
          <p:spPr>
            <a:xfrm>
              <a:off x="1450143" y="3123816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Scheduling</a:t>
              </a:r>
            </a:p>
          </p:txBody>
        </p:sp>
        <p:sp>
          <p:nvSpPr>
            <p:cNvPr id="519" name="TextBox 518">
              <a:extLst>
                <a:ext uri="{FF2B5EF4-FFF2-40B4-BE49-F238E27FC236}">
                  <a16:creationId xmlns:a16="http://schemas.microsoft.com/office/drawing/2014/main" id="{84654EE1-9466-4563-A4AE-1F553FA3F9F1}"/>
                </a:ext>
              </a:extLst>
            </p:cNvPr>
            <p:cNvSpPr txBox="1"/>
            <p:nvPr/>
          </p:nvSpPr>
          <p:spPr>
            <a:xfrm>
              <a:off x="1450143" y="3542162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Jobs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20" name="TextBox 519">
              <a:extLst>
                <a:ext uri="{FF2B5EF4-FFF2-40B4-BE49-F238E27FC236}">
                  <a16:creationId xmlns:a16="http://schemas.microsoft.com/office/drawing/2014/main" id="{4A2CE0BE-7E8E-4F66-8F11-BADA91D69502}"/>
                </a:ext>
              </a:extLst>
            </p:cNvPr>
            <p:cNvSpPr txBox="1"/>
            <p:nvPr/>
          </p:nvSpPr>
          <p:spPr>
            <a:xfrm>
              <a:off x="3003614" y="2713046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APIs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521" name="TextBox 520">
              <a:extLst>
                <a:ext uri="{FF2B5EF4-FFF2-40B4-BE49-F238E27FC236}">
                  <a16:creationId xmlns:a16="http://schemas.microsoft.com/office/drawing/2014/main" id="{AD07CE5E-C192-4AB2-9D25-2E52352BD139}"/>
                </a:ext>
              </a:extLst>
            </p:cNvPr>
            <p:cNvSpPr txBox="1"/>
            <p:nvPr/>
          </p:nvSpPr>
          <p:spPr>
            <a:xfrm>
              <a:off x="3003614" y="3123816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User Mgmt.</a:t>
              </a:r>
            </a:p>
          </p:txBody>
        </p:sp>
        <p:sp>
          <p:nvSpPr>
            <p:cNvPr id="522" name="TextBox 521">
              <a:extLst>
                <a:ext uri="{FF2B5EF4-FFF2-40B4-BE49-F238E27FC236}">
                  <a16:creationId xmlns:a16="http://schemas.microsoft.com/office/drawing/2014/main" id="{041E7A4C-5E2F-4515-823B-670647D624C3}"/>
                </a:ext>
              </a:extLst>
            </p:cNvPr>
            <p:cNvSpPr txBox="1"/>
            <p:nvPr/>
          </p:nvSpPr>
          <p:spPr>
            <a:xfrm>
              <a:off x="3003614" y="3542162"/>
              <a:ext cx="1528406" cy="38969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332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Monitoring</a:t>
              </a:r>
            </a:p>
          </p:txBody>
        </p:sp>
      </p:grpSp>
      <p:grpSp>
        <p:nvGrpSpPr>
          <p:cNvPr id="534" name="Group 533">
            <a:extLst>
              <a:ext uri="{FF2B5EF4-FFF2-40B4-BE49-F238E27FC236}">
                <a16:creationId xmlns:a16="http://schemas.microsoft.com/office/drawing/2014/main" id="{4C8E4CC8-A201-4D8D-B464-CBDC1E18DAF2}"/>
              </a:ext>
            </a:extLst>
          </p:cNvPr>
          <p:cNvGrpSpPr/>
          <p:nvPr/>
        </p:nvGrpSpPr>
        <p:grpSpPr>
          <a:xfrm>
            <a:off x="762767" y="4470425"/>
            <a:ext cx="1236777" cy="933855"/>
            <a:chOff x="1736568" y="3505341"/>
            <a:chExt cx="961806" cy="715932"/>
          </a:xfrm>
        </p:grpSpPr>
        <p:sp>
          <p:nvSpPr>
            <p:cNvPr id="535" name="Rectangle 534">
              <a:extLst>
                <a:ext uri="{FF2B5EF4-FFF2-40B4-BE49-F238E27FC236}">
                  <a16:creationId xmlns:a16="http://schemas.microsoft.com/office/drawing/2014/main" id="{F65D379D-8499-4751-98FD-B5BB3D462B77}"/>
                </a:ext>
              </a:extLst>
            </p:cNvPr>
            <p:cNvSpPr/>
            <p:nvPr/>
          </p:nvSpPr>
          <p:spPr>
            <a:xfrm>
              <a:off x="1736568" y="4043602"/>
              <a:ext cx="961806" cy="17767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(Body)"/>
                  <a:ea typeface="+mn-ea"/>
                  <a:cs typeface="+mn-cs"/>
                </a:rPr>
                <a:t>Talend Studio</a:t>
              </a:r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210B89B3-F255-4060-AE40-99BA4FF808FF}"/>
                </a:ext>
              </a:extLst>
            </p:cNvPr>
            <p:cNvSpPr/>
            <p:nvPr/>
          </p:nvSpPr>
          <p:spPr>
            <a:xfrm>
              <a:off x="1927715" y="3505341"/>
              <a:ext cx="567269" cy="567269"/>
            </a:xfrm>
            <a:prstGeom prst="ellipse">
              <a:avLst/>
            </a:prstGeom>
            <a:noFill/>
            <a:ln w="12700" cap="flat" cmpd="sng" algn="ctr">
              <a:solidFill>
                <a:srgbClr val="FF6D7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8F3EF"/>
                </a:solidFill>
                <a:effectLst/>
                <a:uLnTx/>
                <a:uFillTx/>
                <a:latin typeface="Roboto (Body)"/>
                <a:ea typeface="+mn-ea"/>
                <a:cs typeface="+mn-cs"/>
              </a:endParaRPr>
            </a:p>
          </p:txBody>
        </p:sp>
        <p:pic>
          <p:nvPicPr>
            <p:cNvPr id="537" name="Picture 536">
              <a:extLst>
                <a:ext uri="{FF2B5EF4-FFF2-40B4-BE49-F238E27FC236}">
                  <a16:creationId xmlns:a16="http://schemas.microsoft.com/office/drawing/2014/main" id="{61A8C30E-7935-4D58-A48D-57BC88CDB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2005679" y="3577584"/>
              <a:ext cx="403565" cy="405584"/>
            </a:xfrm>
            <a:prstGeom prst="rect">
              <a:avLst/>
            </a:prstGeom>
          </p:spPr>
        </p:pic>
      </p:grpSp>
      <p:sp>
        <p:nvSpPr>
          <p:cNvPr id="539" name="TextBox 538">
            <a:extLst>
              <a:ext uri="{FF2B5EF4-FFF2-40B4-BE49-F238E27FC236}">
                <a16:creationId xmlns:a16="http://schemas.microsoft.com/office/drawing/2014/main" id="{86A44B1A-3C5D-4E23-86D5-9A22A586C9ED}"/>
              </a:ext>
            </a:extLst>
          </p:cNvPr>
          <p:cNvSpPr txBox="1"/>
          <p:nvPr/>
        </p:nvSpPr>
        <p:spPr>
          <a:xfrm>
            <a:off x="680391" y="1399203"/>
            <a:ext cx="6222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(Body)"/>
                <a:ea typeface="Verdana" panose="020B0604030504040204" pitchFamily="34" charset="0"/>
                <a:cs typeface="+mn-cs"/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4221129342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>
            <a:extLst>
              <a:ext uri="{FF2B5EF4-FFF2-40B4-BE49-F238E27FC236}">
                <a16:creationId xmlns:a16="http://schemas.microsoft.com/office/drawing/2014/main" id="{267149E3-9AA2-4BB7-A2EF-44C409A877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6602" y="1529744"/>
            <a:ext cx="5830759" cy="4888625"/>
          </a:xfrm>
          <a:prstGeom prst="rect">
            <a:avLst/>
          </a:prstGeom>
        </p:spPr>
      </p:pic>
      <p:pic>
        <p:nvPicPr>
          <p:cNvPr id="6" name="Image 7">
            <a:extLst>
              <a:ext uri="{FF2B5EF4-FFF2-40B4-BE49-F238E27FC236}">
                <a16:creationId xmlns:a16="http://schemas.microsoft.com/office/drawing/2014/main" id="{4A6FCCAC-5401-4912-A633-602B367955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639" y="2139767"/>
            <a:ext cx="5706930" cy="3536391"/>
          </a:xfrm>
          <a:prstGeom prst="rect">
            <a:avLst/>
          </a:prstGeom>
        </p:spPr>
      </p:pic>
      <p:sp>
        <p:nvSpPr>
          <p:cNvPr id="7" name="ZoneTexte 8">
            <a:extLst>
              <a:ext uri="{FF2B5EF4-FFF2-40B4-BE49-F238E27FC236}">
                <a16:creationId xmlns:a16="http://schemas.microsoft.com/office/drawing/2014/main" id="{F1518401-D6CB-4412-BEC4-56B0B49D7091}"/>
              </a:ext>
            </a:extLst>
          </p:cNvPr>
          <p:cNvSpPr txBox="1"/>
          <p:nvPr/>
        </p:nvSpPr>
        <p:spPr>
          <a:xfrm>
            <a:off x="6792269" y="822359"/>
            <a:ext cx="46394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93C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On-prem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93C9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ZoneTexte 9">
            <a:extLst>
              <a:ext uri="{FF2B5EF4-FFF2-40B4-BE49-F238E27FC236}">
                <a16:creationId xmlns:a16="http://schemas.microsoft.com/office/drawing/2014/main" id="{F1DBEB95-AA66-4317-8875-B5E721AFDC16}"/>
              </a:ext>
            </a:extLst>
          </p:cNvPr>
          <p:cNvSpPr txBox="1"/>
          <p:nvPr/>
        </p:nvSpPr>
        <p:spPr>
          <a:xfrm>
            <a:off x="164639" y="822359"/>
            <a:ext cx="4961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93C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Cloud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93C9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ZoneTexte 11">
            <a:extLst>
              <a:ext uri="{FF2B5EF4-FFF2-40B4-BE49-F238E27FC236}">
                <a16:creationId xmlns:a16="http://schemas.microsoft.com/office/drawing/2014/main" id="{D6D934F3-4F57-4D2C-A5B5-97114A1FFF8E}"/>
              </a:ext>
            </a:extLst>
          </p:cNvPr>
          <p:cNvSpPr txBox="1"/>
          <p:nvPr/>
        </p:nvSpPr>
        <p:spPr>
          <a:xfrm>
            <a:off x="7557469" y="6420491"/>
            <a:ext cx="3028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Install/Maintain/Manag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everythi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ZoneTexte 10">
            <a:extLst>
              <a:ext uri="{FF2B5EF4-FFF2-40B4-BE49-F238E27FC236}">
                <a16:creationId xmlns:a16="http://schemas.microsoft.com/office/drawing/2014/main" id="{6588B08C-A789-4B56-803A-024CABA302FA}"/>
              </a:ext>
            </a:extLst>
          </p:cNvPr>
          <p:cNvSpPr txBox="1"/>
          <p:nvPr/>
        </p:nvSpPr>
        <p:spPr>
          <a:xfrm>
            <a:off x="1445397" y="5879856"/>
            <a:ext cx="259077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Install/Maintain/Manag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on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: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alend Studios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Remote Engines  </a:t>
            </a:r>
          </a:p>
        </p:txBody>
      </p:sp>
    </p:spTree>
    <p:extLst>
      <p:ext uri="{BB962C8B-B14F-4D97-AF65-F5344CB8AC3E}">
        <p14:creationId xmlns:p14="http://schemas.microsoft.com/office/powerpoint/2010/main" val="4119929224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9_Talend PPT Template Feb 2018">
  <a:themeElements>
    <a:clrScheme name="Custom 2">
      <a:dk1>
        <a:srgbClr val="000000"/>
      </a:dk1>
      <a:lt1>
        <a:srgbClr val="FFFFFF"/>
      </a:lt1>
      <a:dk2>
        <a:srgbClr val="0093C9"/>
      </a:dk2>
      <a:lt2>
        <a:srgbClr val="82BD41"/>
      </a:lt2>
      <a:accent1>
        <a:srgbClr val="0C4387"/>
      </a:accent1>
      <a:accent2>
        <a:srgbClr val="56A5C9"/>
      </a:accent2>
      <a:accent3>
        <a:srgbClr val="BFBFBF"/>
      </a:accent3>
      <a:accent4>
        <a:srgbClr val="808285"/>
      </a:accent4>
      <a:accent5>
        <a:srgbClr val="0675C1"/>
      </a:accent5>
      <a:accent6>
        <a:srgbClr val="0C2D4D"/>
      </a:accent6>
      <a:hlink>
        <a:srgbClr val="0675C1"/>
      </a:hlink>
      <a:folHlink>
        <a:srgbClr val="666666"/>
      </a:folHlink>
    </a:clrScheme>
    <a:fontScheme name="Custom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chemeClr val="accent4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alend Sales deck_Liberate your data_May 2018.potx" id="{DCF89D96-FACE-4857-9FA3-C557F1F16DCD}" vid="{A7FAD968-35CA-40FA-9817-1E5C8B4DA5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12</Words>
  <Application>Microsoft Office PowerPoint</Application>
  <PresentationFormat>Widescreen</PresentationFormat>
  <Paragraphs>12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4" baseType="lpstr">
      <vt:lpstr>MS PGothic</vt:lpstr>
      <vt:lpstr>Abadi</vt:lpstr>
      <vt:lpstr>Arial</vt:lpstr>
      <vt:lpstr>Calibri</vt:lpstr>
      <vt:lpstr>Courier New</vt:lpstr>
      <vt:lpstr>Impact</vt:lpstr>
      <vt:lpstr>Lato</vt:lpstr>
      <vt:lpstr>Open Sans</vt:lpstr>
      <vt:lpstr>PT Sans</vt:lpstr>
      <vt:lpstr>PT Sans Regular</vt:lpstr>
      <vt:lpstr>Roboto</vt:lpstr>
      <vt:lpstr>Roboto (Body)</vt:lpstr>
      <vt:lpstr>Roboto (Headings)</vt:lpstr>
      <vt:lpstr>Verdana</vt:lpstr>
      <vt:lpstr>Wingdings</vt:lpstr>
      <vt:lpstr>19_Talend PPT Template Feb 2018</vt:lpstr>
      <vt:lpstr>think-cell Slide</vt:lpstr>
      <vt:lpstr>Talend Cloud Architecture Cloud Engine</vt:lpstr>
      <vt:lpstr>Talend Cloud Architecture Remote Engine On Premise</vt:lpstr>
      <vt:lpstr>Talend Cloud Architecture Remote Engine On Premise</vt:lpstr>
      <vt:lpstr>Talend Cloud Architecture Remote Engine on Private Cloud</vt:lpstr>
      <vt:lpstr>Talend Cloud (Remote Engine) VS Talend On-Prem</vt:lpstr>
      <vt:lpstr>Talend Cloud VS Talend On-Pre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nd Cloud Architecture Cloud Engine</dc:title>
  <dc:creator>Giridhar Reddy Meenampally</dc:creator>
  <cp:lastModifiedBy>Giridhar Reddy Meenampally</cp:lastModifiedBy>
  <cp:revision>1</cp:revision>
  <dcterms:created xsi:type="dcterms:W3CDTF">2023-11-28T08:14:56Z</dcterms:created>
  <dcterms:modified xsi:type="dcterms:W3CDTF">2023-11-28T08:18:51Z</dcterms:modified>
</cp:coreProperties>
</file>